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xml" ContentType="application/vnd.openxmlformats-officedocument.drawingml.chart+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5.xml" ContentType="application/vnd.openxmlformats-officedocument.presentationml.tags+xml"/>
  <Override PartName="/ppt/notesSlides/notesSlide29.xml" ContentType="application/vnd.openxmlformats-officedocument.presentationml.notesSlide+xml"/>
  <Override PartName="/ppt/tags/tag16.xml" ContentType="application/vnd.openxmlformats-officedocument.presentationml.tags+xml"/>
  <Override PartName="/ppt/notesSlides/notesSlide30.xml" ContentType="application/vnd.openxmlformats-officedocument.presentationml.notesSlide+xml"/>
  <Override PartName="/ppt/tags/tag17.xml" ContentType="application/vnd.openxmlformats-officedocument.presentationml.tags+xml"/>
  <Override PartName="/ppt/notesSlides/notesSlide31.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notesSlides/notesSlide35.xml" ContentType="application/vnd.openxmlformats-officedocument.presentationml.notesSlide+xml"/>
  <Override PartName="/ppt/tags/tag21.xml" ContentType="application/vnd.openxmlformats-officedocument.presentationml.tags+xml"/>
  <Override PartName="/ppt/notesSlides/notesSlide36.xml" ContentType="application/vnd.openxmlformats-officedocument.presentationml.notesSlide+xml"/>
  <Override PartName="/ppt/tags/tag22.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0"/>
  </p:notesMasterIdLst>
  <p:sldIdLst>
    <p:sldId id="4718" r:id="rId2"/>
    <p:sldId id="4719" r:id="rId3"/>
    <p:sldId id="318" r:id="rId4"/>
    <p:sldId id="319" r:id="rId5"/>
    <p:sldId id="320" r:id="rId6"/>
    <p:sldId id="321" r:id="rId7"/>
    <p:sldId id="322" r:id="rId8"/>
    <p:sldId id="4685" r:id="rId9"/>
    <p:sldId id="324" r:id="rId10"/>
    <p:sldId id="325" r:id="rId11"/>
    <p:sldId id="330" r:id="rId12"/>
    <p:sldId id="336" r:id="rId13"/>
    <p:sldId id="345" r:id="rId14"/>
    <p:sldId id="347" r:id="rId15"/>
    <p:sldId id="348" r:id="rId16"/>
    <p:sldId id="349" r:id="rId17"/>
    <p:sldId id="350" r:id="rId18"/>
    <p:sldId id="351" r:id="rId19"/>
    <p:sldId id="352" r:id="rId20"/>
    <p:sldId id="353" r:id="rId21"/>
    <p:sldId id="354" r:id="rId22"/>
    <p:sldId id="4686" r:id="rId23"/>
    <p:sldId id="4427" r:id="rId24"/>
    <p:sldId id="355" r:id="rId25"/>
    <p:sldId id="356" r:id="rId26"/>
    <p:sldId id="357" r:id="rId27"/>
    <p:sldId id="364" r:id="rId28"/>
    <p:sldId id="4691" r:id="rId29"/>
    <p:sldId id="381" r:id="rId30"/>
    <p:sldId id="382" r:id="rId31"/>
    <p:sldId id="383" r:id="rId32"/>
    <p:sldId id="384" r:id="rId33"/>
    <p:sldId id="385" r:id="rId34"/>
    <p:sldId id="387" r:id="rId35"/>
    <p:sldId id="388" r:id="rId36"/>
    <p:sldId id="389" r:id="rId37"/>
    <p:sldId id="390" r:id="rId38"/>
    <p:sldId id="309" r:id="rId39"/>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pos="3454" userDrawn="1">
          <p15:clr>
            <a:srgbClr val="A4A3A4"/>
          </p15:clr>
        </p15:guide>
        <p15:guide id="2" pos="4770" userDrawn="1">
          <p15:clr>
            <a:srgbClr val="A4A3A4"/>
          </p15:clr>
        </p15:guide>
        <p15:guide id="3"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21" autoAdjust="0"/>
    <p:restoredTop sz="94660"/>
  </p:normalViewPr>
  <p:slideViewPr>
    <p:cSldViewPr snapToGrid="0">
      <p:cViewPr>
        <p:scale>
          <a:sx n="71" d="100"/>
          <a:sy n="71" d="100"/>
        </p:scale>
        <p:origin x="-552" y="420"/>
      </p:cViewPr>
      <p:guideLst>
        <p:guide orient="horz" pos="2160"/>
        <p:guide pos="3454"/>
        <p:guide pos="477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971531741258981E-3"/>
          <c:y val="1.7116031131932458E-2"/>
          <c:w val="0.828244144965956"/>
          <c:h val="0.96121718115335553"/>
        </c:manualLayout>
      </c:layout>
      <c:bubbleChart>
        <c:varyColors val="0"/>
        <c:ser>
          <c:idx val="0"/>
          <c:order val="0"/>
          <c:spPr>
            <a:solidFill>
              <a:schemeClr val="accent2"/>
            </a:solidFill>
            <a:ln>
              <a:noFill/>
            </a:ln>
            <a:effectLst/>
          </c:spPr>
          <c:invertIfNegative val="0"/>
          <c:xVal>
            <c:numRef>
              <c:f>Tabelle1!$A$1:$A$7</c:f>
              <c:numCache>
                <c:formatCode>General</c:formatCode>
                <c:ptCount val="7"/>
                <c:pt idx="1">
                  <c:v>10</c:v>
                </c:pt>
                <c:pt idx="2">
                  <c:v>40</c:v>
                </c:pt>
                <c:pt idx="3">
                  <c:v>30</c:v>
                </c:pt>
                <c:pt idx="4">
                  <c:v>55</c:v>
                </c:pt>
                <c:pt idx="5">
                  <c:v>50</c:v>
                </c:pt>
                <c:pt idx="6">
                  <c:v>70</c:v>
                </c:pt>
              </c:numCache>
            </c:numRef>
          </c:xVal>
          <c:yVal>
            <c:numRef>
              <c:f>Tabelle1!$B$1:$B$7</c:f>
              <c:numCache>
                <c:formatCode>General</c:formatCode>
                <c:ptCount val="7"/>
                <c:pt idx="0">
                  <c:v>0</c:v>
                </c:pt>
                <c:pt idx="1">
                  <c:v>15</c:v>
                </c:pt>
                <c:pt idx="2">
                  <c:v>45</c:v>
                </c:pt>
                <c:pt idx="3">
                  <c:v>20</c:v>
                </c:pt>
              </c:numCache>
            </c:numRef>
          </c:yVal>
          <c:bubbleSize>
            <c:numRef>
              <c:f>Tabelle1!$C$1:$C$7</c:f>
              <c:numCache>
                <c:formatCode>General</c:formatCode>
                <c:ptCount val="7"/>
                <c:pt idx="0">
                  <c:v>0</c:v>
                </c:pt>
                <c:pt idx="1">
                  <c:v>0.5</c:v>
                </c:pt>
                <c:pt idx="2">
                  <c:v>4</c:v>
                </c:pt>
                <c:pt idx="3">
                  <c:v>1</c:v>
                </c:pt>
              </c:numCache>
            </c:numRef>
          </c:bubbleSize>
          <c:bubble3D val="0"/>
          <c:extLst xmlns:c16r2="http://schemas.microsoft.com/office/drawing/2015/06/chart">
            <c:ext xmlns:c16="http://schemas.microsoft.com/office/drawing/2014/chart" uri="{C3380CC4-5D6E-409C-BE32-E72D297353CC}">
              <c16:uniqueId val="{00000000-D670-44B2-9012-2BE1A9A975C1}"/>
            </c:ext>
          </c:extLst>
        </c:ser>
        <c:ser>
          <c:idx val="1"/>
          <c:order val="1"/>
          <c:spPr>
            <a:solidFill>
              <a:schemeClr val="accent4"/>
            </a:solidFill>
            <a:ln>
              <a:noFill/>
            </a:ln>
            <a:effectLst/>
          </c:spPr>
          <c:invertIfNegative val="0"/>
          <c:xVal>
            <c:numRef>
              <c:f>Tabelle1!$A$1:$A$7</c:f>
              <c:numCache>
                <c:formatCode>General</c:formatCode>
                <c:ptCount val="7"/>
                <c:pt idx="1">
                  <c:v>10</c:v>
                </c:pt>
                <c:pt idx="2">
                  <c:v>40</c:v>
                </c:pt>
                <c:pt idx="3">
                  <c:v>30</c:v>
                </c:pt>
                <c:pt idx="4">
                  <c:v>55</c:v>
                </c:pt>
                <c:pt idx="5">
                  <c:v>50</c:v>
                </c:pt>
                <c:pt idx="6">
                  <c:v>70</c:v>
                </c:pt>
              </c:numCache>
            </c:numRef>
          </c:xVal>
          <c:yVal>
            <c:numRef>
              <c:f>Tabelle1!$D$1:$D$7</c:f>
              <c:numCache>
                <c:formatCode>General</c:formatCode>
                <c:ptCount val="7"/>
                <c:pt idx="0">
                  <c:v>0</c:v>
                </c:pt>
                <c:pt idx="4">
                  <c:v>65</c:v>
                </c:pt>
                <c:pt idx="5">
                  <c:v>30</c:v>
                </c:pt>
                <c:pt idx="6">
                  <c:v>80</c:v>
                </c:pt>
              </c:numCache>
            </c:numRef>
          </c:yVal>
          <c:bubbleSize>
            <c:numRef>
              <c:f>Tabelle1!$E$1:$E$7</c:f>
              <c:numCache>
                <c:formatCode>General</c:formatCode>
                <c:ptCount val="7"/>
                <c:pt idx="0">
                  <c:v>0</c:v>
                </c:pt>
                <c:pt idx="4">
                  <c:v>1.5</c:v>
                </c:pt>
                <c:pt idx="5">
                  <c:v>2.5</c:v>
                </c:pt>
                <c:pt idx="6">
                  <c:v>5</c:v>
                </c:pt>
              </c:numCache>
            </c:numRef>
          </c:bubbleSize>
          <c:bubble3D val="0"/>
          <c:extLst xmlns:c16r2="http://schemas.microsoft.com/office/drawing/2015/06/chart">
            <c:ext xmlns:c16="http://schemas.microsoft.com/office/drawing/2014/chart" uri="{C3380CC4-5D6E-409C-BE32-E72D297353CC}">
              <c16:uniqueId val="{00000001-D670-44B2-9012-2BE1A9A975C1}"/>
            </c:ext>
          </c:extLst>
        </c:ser>
        <c:dLbls>
          <c:showLegendKey val="0"/>
          <c:showVal val="0"/>
          <c:showCatName val="0"/>
          <c:showSerName val="0"/>
          <c:showPercent val="0"/>
          <c:showBubbleSize val="0"/>
        </c:dLbls>
        <c:bubbleScale val="100"/>
        <c:showNegBubbles val="0"/>
        <c:axId val="185125120"/>
        <c:axId val="185139200"/>
      </c:bubbleChart>
      <c:valAx>
        <c:axId val="185125120"/>
        <c:scaling>
          <c:orientation val="minMax"/>
          <c:max val="100"/>
          <c:min val="0"/>
        </c:scaling>
        <c:delete val="1"/>
        <c:axPos val="b"/>
        <c:numFmt formatCode="General" sourceLinked="1"/>
        <c:majorTickMark val="none"/>
        <c:minorTickMark val="none"/>
        <c:tickLblPos val="none"/>
        <c:crossAx val="185139200"/>
        <c:crosses val="autoZero"/>
        <c:crossBetween val="midCat"/>
        <c:majorUnit val="20"/>
      </c:valAx>
      <c:valAx>
        <c:axId val="185139200"/>
        <c:scaling>
          <c:orientation val="minMax"/>
          <c:max val="100"/>
          <c:min val="0"/>
        </c:scaling>
        <c:delete val="1"/>
        <c:axPos val="l"/>
        <c:numFmt formatCode="General" sourceLinked="1"/>
        <c:majorTickMark val="out"/>
        <c:minorTickMark val="none"/>
        <c:tickLblPos val="none"/>
        <c:crossAx val="185125120"/>
        <c:crosses val="autoZero"/>
        <c:crossBetween val="midCat"/>
        <c:majorUnit val="20"/>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800" b="0">
          <a:solidFill>
            <a:schemeClr val="tx1"/>
          </a:solidFill>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956398-F1FA-41CD-9E12-C475BC8406CA}" type="datetimeFigureOut">
              <a:rPr lang="de-DE" smtClean="0"/>
              <a:t>21.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A98D5D-E7BB-4D23-99BF-C4E175E576C6}" type="slidenum">
              <a:rPr lang="de-DE" smtClean="0"/>
              <a:t>‹#›</a:t>
            </a:fld>
            <a:endParaRPr lang="de-DE"/>
          </a:p>
        </p:txBody>
      </p:sp>
    </p:spTree>
    <p:extLst>
      <p:ext uri="{BB962C8B-B14F-4D97-AF65-F5344CB8AC3E}">
        <p14:creationId xmlns:p14="http://schemas.microsoft.com/office/powerpoint/2010/main" val="3211621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1012908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864123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367040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945575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150427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15</a:t>
            </a:fld>
            <a:endParaRPr lang="en-GB" dirty="0"/>
          </a:p>
        </p:txBody>
      </p:sp>
    </p:spTree>
    <p:extLst>
      <p:ext uri="{BB962C8B-B14F-4D97-AF65-F5344CB8AC3E}">
        <p14:creationId xmlns:p14="http://schemas.microsoft.com/office/powerpoint/2010/main" val="2782546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7923180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4051779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5577174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447233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36017985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39111926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9190068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503977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069090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29961258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2772556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31105569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42243539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4222905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155828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359652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4968497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8863011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1322037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0001676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3620038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8710047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503101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2556147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2357272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823652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823734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2868668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072993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837241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A386EE3-7223-4468-9BDC-3E8AE4C609FA}"/>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xmlns="" id="{272E45F2-0DC4-422A-8338-8A7863A436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xmlns="" id="{A769AB69-C6ED-4660-B0D4-31BCCB116184}"/>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E58F46BF-261F-4AB4-B7D0-E06F1F350F7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58CC6779-D0DD-4B53-9D6B-9E63DB5398A8}"/>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257618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D319F7F-9211-4238-8B10-5A6DBF8CAB84}"/>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xmlns="" id="{C5B093DA-0E8F-4AE6-AE8A-D36BC927916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4A854745-0AC0-4B16-A0FB-5CF8745D05D4}"/>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9DA7D88F-AD4E-4FC2-84D5-94765FDD95F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F872AF00-9BF5-4908-8078-9DC217A0F3FA}"/>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237356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xmlns="" id="{66F0482A-1D06-4EEE-8354-040591A187B2}"/>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xmlns="" id="{16AFF39E-77AF-473D-976B-FA70EECF6A5C}"/>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456E66D0-F272-4035-894C-D44263657144}"/>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EF51136A-6381-4F9E-9820-01BF424713A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FEEAE453-1B03-4E0B-A3EE-7773201896AA}"/>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22675041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7087090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24559158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6181128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382489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903A9C9B-E920-47C7-BAA7-12A674EF74A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108D9678-D716-4F3A-B60B-FF657D4846FE}"/>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559E0DA6-19A7-4D2A-AF61-55635BEB9263}"/>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4560B063-2591-4BBF-A992-7AA6D0065CF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6E016B0E-6525-409E-874E-2E555B9CC725}"/>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1245965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4837442C-B338-40DE-ACE1-32ADD6ED9E63}"/>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xmlns="" id="{15E7CD16-6C95-4CCD-8A75-D15AF9551C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xmlns="" id="{149461DD-6A73-4685-A432-1D11FC1B8437}"/>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9413F311-0CA3-4774-B908-2F7497BA2DD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AFC0BC60-D392-498E-A567-A2FEDC14618F}"/>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876704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B49B36B-6A9A-4F36-8E5A-9B1CC8925D0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07E08999-7D65-4BAB-9FDE-93BC04BB3EDE}"/>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xmlns="" id="{6890E83A-B8A2-4716-BA07-701F19C7EEA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xmlns="" id="{B7E9AEF6-7563-4093-A697-331CFD641B04}"/>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6" name="Fußzeilenplatzhalter 5">
            <a:extLst>
              <a:ext uri="{FF2B5EF4-FFF2-40B4-BE49-F238E27FC236}">
                <a16:creationId xmlns:a16="http://schemas.microsoft.com/office/drawing/2014/main" xmlns="" id="{F58FCDFB-911B-43D8-A29B-F5B3C98D2C7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F32DDAEF-80BA-429A-885B-18168B397FF7}"/>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37232538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32275B5-913B-4885-AD21-6D4ADA67FA96}"/>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xmlns="" id="{E0C5CB88-3F07-4B54-920F-87D3E85971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xmlns="" id="{6C18F105-AF9A-49C6-8D0E-A14ABC8B0E0E}"/>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xmlns="" id="{E9FBAC11-B1EB-485C-8557-E4E2CE64B3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xmlns="" id="{819230E6-5FAC-4652-8EF9-ED208FEE5895}"/>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xmlns="" id="{551A6702-F62B-4AF6-AC89-58CCB2D09E09}"/>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8" name="Fußzeilenplatzhalter 7">
            <a:extLst>
              <a:ext uri="{FF2B5EF4-FFF2-40B4-BE49-F238E27FC236}">
                <a16:creationId xmlns:a16="http://schemas.microsoft.com/office/drawing/2014/main" xmlns="" id="{E5861471-25B4-47F5-8049-333C655CF6D3}"/>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xmlns="" id="{DB7B299E-11F3-41F8-B080-0235A2EC32BD}"/>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3659796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00877A9-364A-450D-A248-BCF7F260EB2E}"/>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xmlns="" id="{896CD8D1-5FD9-486E-95B9-D1EFBE4FFE58}"/>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4" name="Fußzeilenplatzhalter 3">
            <a:extLst>
              <a:ext uri="{FF2B5EF4-FFF2-40B4-BE49-F238E27FC236}">
                <a16:creationId xmlns:a16="http://schemas.microsoft.com/office/drawing/2014/main" xmlns="" id="{4C657405-FA74-4F8C-B740-5FD931C7298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xmlns="" id="{4780F842-D89E-45B2-ADAD-D1E874E962D6}"/>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3922982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xmlns="" id="{CC05FA23-B3E2-489D-B730-37B48C05FE2C}"/>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3" name="Fußzeilenplatzhalter 2">
            <a:extLst>
              <a:ext uri="{FF2B5EF4-FFF2-40B4-BE49-F238E27FC236}">
                <a16:creationId xmlns:a16="http://schemas.microsoft.com/office/drawing/2014/main" xmlns="" id="{8F88774D-ADB6-47B1-90ED-E93EA48719C8}"/>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xmlns="" id="{0EDFC1D3-2FDA-4E0A-818C-E012283DD42A}"/>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40887282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907159F-64D9-47E6-9483-CD95FE6CE18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xmlns="" id="{0DD879BB-5048-4CDA-9A7E-53C84ABAEB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xmlns="" id="{012BB1B6-1A76-4272-B5FF-674618516A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8EEFC9E3-C7DF-4090-9132-FB3B15812DF4}"/>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6" name="Fußzeilenplatzhalter 5">
            <a:extLst>
              <a:ext uri="{FF2B5EF4-FFF2-40B4-BE49-F238E27FC236}">
                <a16:creationId xmlns:a16="http://schemas.microsoft.com/office/drawing/2014/main" xmlns="" id="{E6B6252A-28FE-41F8-81CA-A279693634F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934826B5-6E2C-4285-9083-71E9D8A4FF6D}"/>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350490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F4834A11-0D0E-4CA7-8616-4C80890DF9D2}"/>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xmlns="" id="{7ABE00B4-314D-42CF-8CB5-5B2A78A46C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xmlns="" id="{6EB87613-F8D1-4257-BD87-F87EACB310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218602D8-E9CB-4175-97FD-56376DB4A262}"/>
              </a:ext>
            </a:extLst>
          </p:cNvPr>
          <p:cNvSpPr>
            <a:spLocks noGrp="1"/>
          </p:cNvSpPr>
          <p:nvPr>
            <p:ph type="dt" sz="half" idx="10"/>
          </p:nvPr>
        </p:nvSpPr>
        <p:spPr/>
        <p:txBody>
          <a:bodyPr/>
          <a:lstStyle/>
          <a:p>
            <a:fld id="{F6419BD7-D05A-4744-94E4-FEE09A680226}" type="datetimeFigureOut">
              <a:rPr lang="de-DE" smtClean="0"/>
              <a:t>21.04.2022</a:t>
            </a:fld>
            <a:endParaRPr lang="de-DE"/>
          </a:p>
        </p:txBody>
      </p:sp>
      <p:sp>
        <p:nvSpPr>
          <p:cNvPr id="6" name="Fußzeilenplatzhalter 5">
            <a:extLst>
              <a:ext uri="{FF2B5EF4-FFF2-40B4-BE49-F238E27FC236}">
                <a16:creationId xmlns:a16="http://schemas.microsoft.com/office/drawing/2014/main" xmlns="" id="{9D7ECB68-F28B-462A-88CE-F1F3CA5ABF3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0CBF2B6C-76A5-442E-9921-3F48097D6982}"/>
              </a:ext>
            </a:extLst>
          </p:cNvPr>
          <p:cNvSpPr>
            <a:spLocks noGrp="1"/>
          </p:cNvSpPr>
          <p:nvPr>
            <p:ph type="sldNum" sz="quarter" idx="12"/>
          </p:nvPr>
        </p:nvSpPr>
        <p:spPr/>
        <p:txBody>
          <a:bodyPr/>
          <a:lstStyle/>
          <a:p>
            <a:fld id="{CE3BEE05-BCB7-4A71-A0DA-65B775829A21}" type="slidenum">
              <a:rPr lang="de-DE" smtClean="0"/>
              <a:t>‹#›</a:t>
            </a:fld>
            <a:endParaRPr lang="de-DE"/>
          </a:p>
        </p:txBody>
      </p:sp>
    </p:spTree>
    <p:extLst>
      <p:ext uri="{BB962C8B-B14F-4D97-AF65-F5344CB8AC3E}">
        <p14:creationId xmlns:p14="http://schemas.microsoft.com/office/powerpoint/2010/main" val="6185856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xmlns="" id="{45FC44AF-DEE6-475E-86C9-51CC3A201E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xmlns="" id="{D5CDCF77-55B4-4AD3-A3BF-9BCE29577F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4C78005C-3EFB-426F-A291-06C00BB9A8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419BD7-D05A-4744-94E4-FEE09A680226}" type="datetimeFigureOut">
              <a:rPr lang="de-DE" smtClean="0"/>
              <a:t>21.04.2022</a:t>
            </a:fld>
            <a:endParaRPr lang="de-DE"/>
          </a:p>
        </p:txBody>
      </p:sp>
      <p:sp>
        <p:nvSpPr>
          <p:cNvPr id="5" name="Fußzeilenplatzhalter 4">
            <a:extLst>
              <a:ext uri="{FF2B5EF4-FFF2-40B4-BE49-F238E27FC236}">
                <a16:creationId xmlns:a16="http://schemas.microsoft.com/office/drawing/2014/main" xmlns="" id="{9A037002-4678-4657-A721-07E3C525E2A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xmlns="" id="{F0D94DB6-1D2E-4243-B63F-84B6379A0D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3BEE05-BCB7-4A71-A0DA-65B775829A21}" type="slidenum">
              <a:rPr lang="de-DE" smtClean="0"/>
              <a:t>‹#›</a:t>
            </a:fld>
            <a:endParaRPr lang="de-DE"/>
          </a:p>
        </p:txBody>
      </p:sp>
    </p:spTree>
    <p:extLst>
      <p:ext uri="{BB962C8B-B14F-4D97-AF65-F5344CB8AC3E}">
        <p14:creationId xmlns:p14="http://schemas.microsoft.com/office/powerpoint/2010/main" val="26686196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notesSlide" Target="../notesSlides/notesSlide20.xml"/><Relationship Id="rId5" Type="http://schemas.openxmlformats.org/officeDocument/2006/relationships/slideLayout" Target="../slideLayouts/slideLayout14.xml"/><Relationship Id="rId4" Type="http://schemas.openxmlformats.org/officeDocument/2006/relationships/tags" Target="../tags/tag14.xml"/></Relationships>
</file>

<file path=ppt/slides/_rels/slide2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10.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0.emf"/><Relationship Id="rId5" Type="http://schemas.openxmlformats.org/officeDocument/2006/relationships/oleObject" Target="../embeddings/oleObject13.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4.xml"/><Relationship Id="rId7" Type="http://schemas.openxmlformats.org/officeDocument/2006/relationships/image" Target="../media/image12.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notesSlide" Target="../notesSlides/notesSlide34.xml"/><Relationship Id="rId9" Type="http://schemas.openxmlformats.org/officeDocument/2006/relationships/image" Target="../media/image1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10598580" cy="697353"/>
          </a:xfrm>
        </p:spPr>
        <p:txBody>
          <a:bodyPr/>
          <a:lstStyle/>
          <a:p>
            <a:r>
              <a:rPr lang="en-GB" sz="4400" dirty="0"/>
              <a:t>Die strategische Seite der Restrukturierung</a:t>
            </a:r>
          </a:p>
          <a:p>
            <a:endParaRPr lang="en-GB"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 5 </a:t>
            </a:r>
          </a:p>
        </p:txBody>
      </p:sp>
      <p:sp>
        <p:nvSpPr>
          <p:cNvPr id="6" name="TextBox 1">
            <a:extLst>
              <a:ext uri="{FF2B5EF4-FFF2-40B4-BE49-F238E27FC236}">
                <a16:creationId xmlns:a16="http://schemas.microsoft.com/office/drawing/2014/main" xmlns="" id="{CEB4968F-4267-4C6C-BED3-A18A5861B62E}"/>
              </a:ext>
            </a:extLst>
          </p:cNvPr>
          <p:cNvSpPr txBox="1"/>
          <p:nvPr/>
        </p:nvSpPr>
        <p:spPr>
          <a:xfrm>
            <a:off x="241554" y="5781361"/>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2114" y="416369"/>
            <a:ext cx="9448543" cy="1151174"/>
          </a:xfrm>
        </p:spPr>
        <p:txBody>
          <a:bodyPr>
            <a:normAutofit/>
          </a:bodyPr>
          <a:lstStyle/>
          <a:p>
            <a:r>
              <a:rPr lang="en-GB" dirty="0"/>
              <a:t>Inhalt von Restrukturierungskonzepten</a:t>
            </a:r>
          </a:p>
          <a:p>
            <a:r>
              <a:rPr lang="en-GB" sz="2800" b="1" dirty="0">
                <a:latin typeface="+mj-lt"/>
              </a:rPr>
              <a:t>1. Analyse der Entwicklung der Branche </a:t>
            </a:r>
            <a:endParaRPr lang="en-GB" dirty="0"/>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8923" y="1706752"/>
            <a:ext cx="3652848" cy="49452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1800" dirty="0">
                <a:solidFill>
                  <a:srgbClr val="245473"/>
                </a:solidFill>
                <a:latin typeface="+mj-lt"/>
                <a:ea typeface="Open Sans Light" panose="020B0306030504020204" pitchFamily="34" charset="0"/>
                <a:cs typeface="Open Sans Light" panose="020B0306030504020204" pitchFamily="34" charset="0"/>
              </a:rPr>
              <a:t>Die Branchenanalyse ist </a:t>
            </a:r>
            <a:r>
              <a:rPr lang="en-US" sz="1800" dirty="0" err="1">
                <a:solidFill>
                  <a:srgbClr val="245473"/>
                </a:solidFill>
                <a:latin typeface="+mj-lt"/>
                <a:ea typeface="Open Sans Light" panose="020B0306030504020204" pitchFamily="34" charset="0"/>
                <a:cs typeface="Open Sans Light" panose="020B0306030504020204" pitchFamily="34" charset="0"/>
              </a:rPr>
              <a:t>ein</a:t>
            </a:r>
            <a:r>
              <a:rPr lang="en-US" sz="1800" dirty="0">
                <a:solidFill>
                  <a:srgbClr val="245473"/>
                </a:solidFill>
                <a:latin typeface="+mj-lt"/>
                <a:ea typeface="Open Sans Light" panose="020B0306030504020204" pitchFamily="34" charset="0"/>
                <a:cs typeface="Open Sans Light" panose="020B0306030504020204" pitchFamily="34" charset="0"/>
              </a:rPr>
              <a:t> </a:t>
            </a:r>
            <a:r>
              <a:rPr lang="en-US" sz="1800" dirty="0" err="1">
                <a:solidFill>
                  <a:srgbClr val="245473"/>
                </a:solidFill>
                <a:latin typeface="+mj-lt"/>
                <a:ea typeface="Open Sans Light" panose="020B0306030504020204" pitchFamily="34" charset="0"/>
                <a:cs typeface="Open Sans Light" panose="020B0306030504020204" pitchFamily="34" charset="0"/>
              </a:rPr>
              <a:t>Werk-zeug</a:t>
            </a:r>
            <a:r>
              <a:rPr lang="en-US" sz="1800" dirty="0">
                <a:solidFill>
                  <a:srgbClr val="245473"/>
                </a:solidFill>
                <a:latin typeface="+mj-lt"/>
                <a:ea typeface="Open Sans Light" panose="020B0306030504020204" pitchFamily="34" charset="0"/>
                <a:cs typeface="Open Sans Light" panose="020B0306030504020204" pitchFamily="34" charset="0"/>
              </a:rPr>
              <a:t>, das es einem Unternehmen erleichtert, seine Position </a:t>
            </a:r>
            <a:r>
              <a:rPr lang="en-US" sz="1800" dirty="0" err="1">
                <a:solidFill>
                  <a:srgbClr val="245473"/>
                </a:solidFill>
                <a:latin typeface="+mj-lt"/>
                <a:ea typeface="Open Sans Light" panose="020B0306030504020204" pitchFamily="34" charset="0"/>
                <a:cs typeface="Open Sans Light" panose="020B0306030504020204" pitchFamily="34" charset="0"/>
              </a:rPr>
              <a:t>im</a:t>
            </a:r>
            <a:r>
              <a:rPr lang="en-US" sz="1800" dirty="0">
                <a:solidFill>
                  <a:srgbClr val="245473"/>
                </a:solidFill>
                <a:latin typeface="+mj-lt"/>
                <a:ea typeface="Open Sans Light" panose="020B0306030504020204" pitchFamily="34" charset="0"/>
                <a:cs typeface="Open Sans Light" panose="020B0306030504020204" pitchFamily="34" charset="0"/>
              </a:rPr>
              <a:t> </a:t>
            </a:r>
            <a:r>
              <a:rPr lang="en-US" sz="1800" dirty="0" err="1">
                <a:solidFill>
                  <a:srgbClr val="245473"/>
                </a:solidFill>
                <a:latin typeface="+mj-lt"/>
                <a:ea typeface="Open Sans Light" panose="020B0306030504020204" pitchFamily="34" charset="0"/>
                <a:cs typeface="Open Sans Light" panose="020B0306030504020204" pitchFamily="34" charset="0"/>
              </a:rPr>
              <a:t>Vergleich</a:t>
            </a:r>
            <a:r>
              <a:rPr lang="en-US" sz="1800" dirty="0">
                <a:solidFill>
                  <a:srgbClr val="245473"/>
                </a:solidFill>
                <a:latin typeface="+mj-lt"/>
                <a:ea typeface="Open Sans Light" panose="020B0306030504020204" pitchFamily="34" charset="0"/>
                <a:cs typeface="Open Sans Light" panose="020B0306030504020204" pitchFamily="34" charset="0"/>
              </a:rPr>
              <a:t> zu anderen Unternehmen, die ähnliche Produkte oder Dienstleistungen herstellen, zu verstehen. Das Verständnis der Kräfte, die in der gesamten Branche wirken, ist ein wichtiger Bestandteil einer effektiven strategischen Planung.</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as Verständnis für die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chtigsten</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ntwicklungen</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st</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von besonderer Bedeutung für eine nachhaltige Restrukturierung.</a:t>
            </a:r>
            <a:endParaRPr lang="en-US"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Nur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enn</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elevante</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Trends </a:t>
            </a:r>
            <a:r>
              <a:rPr lang="en-US" sz="1800" b="1" dirty="0">
                <a:solidFill>
                  <a:srgbClr val="245473"/>
                </a:solidFill>
                <a:latin typeface="+mj-lt"/>
                <a:ea typeface="Open Sans Light" panose="020B0306030504020204" pitchFamily="34" charset="0"/>
                <a:cs typeface="Open Sans Light" panose="020B0306030504020204" pitchFamily="34" charset="0"/>
              </a:rPr>
              <a:t/>
            </a:r>
            <a:br>
              <a:rPr lang="en-US" sz="1800" b="1" dirty="0">
                <a:solidFill>
                  <a:srgbClr val="245473"/>
                </a:solidFill>
                <a:latin typeface="+mj-lt"/>
                <a:ea typeface="Open Sans Light" panose="020B0306030504020204" pitchFamily="34" charset="0"/>
                <a:cs typeface="Open Sans Light" panose="020B0306030504020204" pitchFamily="34" charset="0"/>
              </a:rPr>
            </a:b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erücksichtigt werden,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kann</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nachhaltig</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mstrukturiert</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US" sz="1800" b="1"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erden</a:t>
            </a:r>
            <a:r>
              <a:rPr lang="en-US"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t>
            </a:r>
            <a:endParaRPr lang="en-GB" sz="1800" b="1" dirty="0">
              <a:solidFill>
                <a:srgbClr val="245473"/>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467745"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graphicFrame>
        <p:nvGraphicFramePr>
          <p:cNvPr id="9" name="object 9">
            <a:extLst>
              <a:ext uri="{FF2B5EF4-FFF2-40B4-BE49-F238E27FC236}">
                <a16:creationId xmlns:a16="http://schemas.microsoft.com/office/drawing/2014/main" xmlns="" id="{4084F88F-310F-4939-89AE-ABB1BEA6E22B}"/>
              </a:ext>
            </a:extLst>
          </p:cNvPr>
          <p:cNvGraphicFramePr>
            <a:graphicFrameLocks noGrp="1"/>
          </p:cNvGraphicFramePr>
          <p:nvPr>
            <p:extLst>
              <p:ext uri="{D42A27DB-BD31-4B8C-83A1-F6EECF244321}">
                <p14:modId xmlns:p14="http://schemas.microsoft.com/office/powerpoint/2010/main" val="3491153629"/>
              </p:ext>
            </p:extLst>
          </p:nvPr>
        </p:nvGraphicFramePr>
        <p:xfrm>
          <a:off x="3831771" y="1956011"/>
          <a:ext cx="8181306" cy="4178300"/>
        </p:xfrm>
        <a:graphic>
          <a:graphicData uri="http://schemas.openxmlformats.org/drawingml/2006/table">
            <a:tbl>
              <a:tblPr firstRow="1" bandRow="1">
                <a:tableStyleId>{72833802-FEF1-4C79-8D5D-14CF1EAF98D9}</a:tableStyleId>
              </a:tblPr>
              <a:tblGrid>
                <a:gridCol w="4064069">
                  <a:extLst>
                    <a:ext uri="{9D8B030D-6E8A-4147-A177-3AD203B41FA5}">
                      <a16:colId xmlns:a16="http://schemas.microsoft.com/office/drawing/2014/main" xmlns="" val="20000"/>
                    </a:ext>
                  </a:extLst>
                </a:gridCol>
                <a:gridCol w="4117237">
                  <a:extLst>
                    <a:ext uri="{9D8B030D-6E8A-4147-A177-3AD203B41FA5}">
                      <a16:colId xmlns:a16="http://schemas.microsoft.com/office/drawing/2014/main" xmlns="" val="20001"/>
                    </a:ext>
                  </a:extLst>
                </a:gridCol>
              </a:tblGrid>
              <a:tr h="422598">
                <a:tc gridSpan="2">
                  <a:txBody>
                    <a:bodyPr/>
                    <a:lstStyle/>
                    <a:p>
                      <a:pPr marL="91440">
                        <a:lnSpc>
                          <a:spcPct val="100000"/>
                        </a:lnSpc>
                        <a:spcBef>
                          <a:spcPts val="745"/>
                        </a:spcBef>
                      </a:pPr>
                      <a:r>
                        <a:rPr lang="en-GB" sz="2400" b="1" dirty="0">
                          <a:solidFill>
                            <a:srgbClr val="FFFFFF"/>
                          </a:solidFill>
                          <a:latin typeface="+mj-lt"/>
                        </a:rPr>
                        <a:t>Unternehmenssituation: </a:t>
                      </a:r>
                      <a:r>
                        <a:rPr lang="en-GB" sz="2400" b="1" u="sng" dirty="0">
                          <a:solidFill>
                            <a:srgbClr val="FFFFFF"/>
                          </a:solidFill>
                          <a:latin typeface="+mj-lt"/>
                        </a:rPr>
                        <a:t>Analyse der Branchenentwicklung</a:t>
                      </a:r>
                      <a:endParaRPr lang="en-GB" sz="2400" u="sng" dirty="0">
                        <a:latin typeface="+mj-lt"/>
                        <a:cs typeface="Arial"/>
                      </a:endParaRPr>
                    </a:p>
                  </a:txBody>
                  <a:tcPr marL="0" marR="0" marT="94615" marB="0"/>
                </a:tc>
                <a:tc hMerge="1">
                  <a:txBody>
                    <a:bodyPr/>
                    <a:lstStyle/>
                    <a:p>
                      <a:endParaRPr/>
                    </a:p>
                  </a:txBody>
                  <a:tcPr marL="0" marR="0" marT="0" marB="0"/>
                </a:tc>
                <a:extLst>
                  <a:ext uri="{0D108BD9-81ED-4DB2-BD59-A6C34878D82A}">
                    <a16:rowId xmlns:a16="http://schemas.microsoft.com/office/drawing/2014/main" xmlns="" val="10000"/>
                  </a:ext>
                </a:extLst>
              </a:tr>
              <a:tr h="638810">
                <a:tc gridSpan="2">
                  <a:txBody>
                    <a:bodyPr/>
                    <a:lstStyle/>
                    <a:p>
                      <a:pPr marL="91440">
                        <a:lnSpc>
                          <a:spcPct val="100000"/>
                        </a:lnSpc>
                        <a:spcBef>
                          <a:spcPts val="800"/>
                        </a:spcBef>
                      </a:pPr>
                      <a:r>
                        <a:rPr lang="en-GB" sz="1800" b="1" spc="-10" dirty="0">
                          <a:solidFill>
                            <a:srgbClr val="245473"/>
                          </a:solidFill>
                          <a:latin typeface="+mj-lt"/>
                          <a:cs typeface="Arial"/>
                        </a:rPr>
                        <a:t>Grundlage für die Ableitung eines strategischen Restrukturierungsplans sind die relevanten Faktoren und Entwicklungen in der Branche</a:t>
                      </a:r>
                    </a:p>
                  </a:txBody>
                  <a:tcPr marL="0" marR="0" marT="101600" marB="0" anchor="ctr"/>
                </a:tc>
                <a:tc hMerge="1">
                  <a:txBody>
                    <a:bodyPr/>
                    <a:lstStyle/>
                    <a:p>
                      <a:pPr marL="91440">
                        <a:lnSpc>
                          <a:spcPct val="100000"/>
                        </a:lnSpc>
                        <a:spcBef>
                          <a:spcPts val="800"/>
                        </a:spcBef>
                      </a:pPr>
                      <a:endParaRPr lang="en-US" sz="1600" dirty="0">
                        <a:latin typeface="Arial"/>
                        <a:cs typeface="Arial"/>
                      </a:endParaRPr>
                    </a:p>
                  </a:txBody>
                  <a:tcPr marL="0" marR="0" marT="101600" marB="0"/>
                </a:tc>
                <a:extLst>
                  <a:ext uri="{0D108BD9-81ED-4DB2-BD59-A6C34878D82A}">
                    <a16:rowId xmlns:a16="http://schemas.microsoft.com/office/drawing/2014/main" xmlns="" val="10001"/>
                  </a:ext>
                </a:extLst>
              </a:tr>
              <a:tr h="638810">
                <a:tc gridSpan="2">
                  <a:txBody>
                    <a:bodyPr/>
                    <a:lstStyle/>
                    <a:p>
                      <a:pPr marL="91440">
                        <a:lnSpc>
                          <a:spcPct val="100000"/>
                        </a:lnSpc>
                        <a:spcBef>
                          <a:spcPts val="800"/>
                        </a:spcBef>
                      </a:pPr>
                      <a:r>
                        <a:rPr lang="en-GB" sz="1800" b="0" spc="-10" dirty="0">
                          <a:solidFill>
                            <a:srgbClr val="245473"/>
                          </a:solidFill>
                          <a:latin typeface="+mj-lt"/>
                          <a:cs typeface="Arial"/>
                        </a:rPr>
                        <a:t>Die Analyse der Branchensituation und -entwicklung soll einen Hinweis auf die zukünftige Rentabilität der Branche und die mögliche Positionierung des Krisenunternehmens geben, wobei die Einflussfaktoren </a:t>
                      </a:r>
                      <a:r>
                        <a:rPr lang="en-GB" sz="1800" b="0" spc="-10" dirty="0" err="1">
                          <a:solidFill>
                            <a:srgbClr val="245473"/>
                          </a:solidFill>
                          <a:latin typeface="+mj-lt"/>
                          <a:cs typeface="Arial"/>
                        </a:rPr>
                        <a:t>berücksichtigt</a:t>
                      </a:r>
                      <a:r>
                        <a:rPr lang="en-GB" sz="1800" b="0" spc="-10" dirty="0">
                          <a:solidFill>
                            <a:srgbClr val="245473"/>
                          </a:solidFill>
                          <a:latin typeface="+mj-lt"/>
                          <a:cs typeface="Arial"/>
                        </a:rPr>
                        <a:t> warden.</a:t>
                      </a:r>
                    </a:p>
                  </a:txBody>
                  <a:tcPr marL="0" marR="0" marT="6985" marB="0" anchor="ctr"/>
                </a:tc>
                <a:tc hMerge="1">
                  <a:txBody>
                    <a:bodyPr/>
                    <a:lstStyle/>
                    <a:p>
                      <a:pPr marL="91440" marR="565150">
                        <a:lnSpc>
                          <a:spcPts val="1870"/>
                        </a:lnSpc>
                        <a:spcBef>
                          <a:spcPts val="980"/>
                        </a:spcBef>
                      </a:pPr>
                      <a:endParaRPr lang="en-GB" sz="1600" dirty="0">
                        <a:latin typeface="Arial"/>
                        <a:cs typeface="Arial"/>
                      </a:endParaRPr>
                    </a:p>
                  </a:txBody>
                  <a:tcPr marL="0" marR="0" marT="124460" marB="0"/>
                </a:tc>
                <a:extLst>
                  <a:ext uri="{0D108BD9-81ED-4DB2-BD59-A6C34878D82A}">
                    <a16:rowId xmlns:a16="http://schemas.microsoft.com/office/drawing/2014/main" xmlns="" val="10002"/>
                  </a:ext>
                </a:extLst>
              </a:tr>
              <a:tr h="638810">
                <a:tc gridSpan="2">
                  <a:txBody>
                    <a:bodyPr/>
                    <a:lstStyle/>
                    <a:p>
                      <a:pPr marL="91440">
                        <a:lnSpc>
                          <a:spcPct val="100000"/>
                        </a:lnSpc>
                        <a:spcBef>
                          <a:spcPts val="800"/>
                        </a:spcBef>
                      </a:pPr>
                      <a:r>
                        <a:rPr lang="en-GB" sz="1800" dirty="0">
                          <a:solidFill>
                            <a:srgbClr val="245473"/>
                          </a:solidFill>
                          <a:latin typeface="+mj-lt"/>
                          <a:cs typeface="Arial"/>
                        </a:rPr>
                        <a:t>Insbesondere ist zu prüfen, welche Chancen und Risiken sich für U und seine aktuelle Wettbewerbsposition aus den folgenden Faktoren ergeben:</a:t>
                      </a:r>
                    </a:p>
                  </a:txBody>
                  <a:tcPr marL="0" marR="0" marT="101600" marB="0" anchor="ctr"/>
                </a:tc>
                <a:tc hMerge="1">
                  <a:txBody>
                    <a:bodyPr/>
                    <a:lstStyle/>
                    <a:p>
                      <a:pPr marL="91440">
                        <a:lnSpc>
                          <a:spcPct val="100000"/>
                        </a:lnSpc>
                        <a:spcBef>
                          <a:spcPts val="800"/>
                        </a:spcBef>
                      </a:pPr>
                      <a:endParaRPr lang="en-GB" sz="1600" dirty="0">
                        <a:latin typeface="Arial"/>
                        <a:cs typeface="Arial"/>
                      </a:endParaRPr>
                    </a:p>
                  </a:txBody>
                  <a:tcPr marL="0" marR="0" marT="101600" marB="0"/>
                </a:tc>
                <a:extLst>
                  <a:ext uri="{0D108BD9-81ED-4DB2-BD59-A6C34878D82A}">
                    <a16:rowId xmlns:a16="http://schemas.microsoft.com/office/drawing/2014/main" xmlns="" val="10003"/>
                  </a:ext>
                </a:extLst>
              </a:tr>
              <a:tr h="1309680">
                <a:tc>
                  <a:txBody>
                    <a:bodyPr/>
                    <a:lstStyle/>
                    <a:p>
                      <a:pPr marL="377190" indent="-285750">
                        <a:lnSpc>
                          <a:spcPct val="100000"/>
                        </a:lnSpc>
                        <a:spcBef>
                          <a:spcPts val="300"/>
                        </a:spcBef>
                        <a:buFont typeface="Arial" panose="020B0604020202020204" pitchFamily="34" charset="0"/>
                        <a:buChar char="•"/>
                      </a:pPr>
                      <a:r>
                        <a:rPr lang="en-GB" sz="1800" dirty="0" err="1">
                          <a:solidFill>
                            <a:srgbClr val="245473"/>
                          </a:solidFill>
                          <a:latin typeface="+mj-lt"/>
                          <a:cs typeface="Arial"/>
                        </a:rPr>
                        <a:t>Anzahl</a:t>
                      </a:r>
                      <a:r>
                        <a:rPr lang="en-GB" sz="1800" dirty="0">
                          <a:solidFill>
                            <a:srgbClr val="245473"/>
                          </a:solidFill>
                          <a:latin typeface="+mj-lt"/>
                          <a:cs typeface="Arial"/>
                        </a:rPr>
                        <a:t> und </a:t>
                      </a:r>
                      <a:r>
                        <a:rPr lang="en-GB" sz="1800" dirty="0" err="1">
                          <a:solidFill>
                            <a:srgbClr val="245473"/>
                          </a:solidFill>
                          <a:latin typeface="+mj-lt"/>
                          <a:cs typeface="Arial"/>
                        </a:rPr>
                        <a:t>Stärke</a:t>
                      </a:r>
                      <a:r>
                        <a:rPr lang="en-GB" sz="1800" dirty="0">
                          <a:solidFill>
                            <a:srgbClr val="245473"/>
                          </a:solidFill>
                          <a:latin typeface="+mj-lt"/>
                          <a:cs typeface="Arial"/>
                        </a:rPr>
                        <a:t> der </a:t>
                      </a:r>
                      <a:r>
                        <a:rPr lang="en-GB" sz="1800" dirty="0" err="1">
                          <a:solidFill>
                            <a:srgbClr val="245473"/>
                          </a:solidFill>
                          <a:latin typeface="+mj-lt"/>
                          <a:cs typeface="Arial"/>
                        </a:rPr>
                        <a:t>Wettbewerber</a:t>
                      </a:r>
                      <a:endParaRPr lang="en-GB" sz="1800" dirty="0">
                        <a:solidFill>
                          <a:srgbClr val="245473"/>
                        </a:solidFill>
                        <a:latin typeface="+mj-lt"/>
                        <a:cs typeface="Arial"/>
                      </a:endParaRPr>
                    </a:p>
                    <a:p>
                      <a:pPr marL="377190" indent="-285750">
                        <a:lnSpc>
                          <a:spcPct val="100000"/>
                        </a:lnSpc>
                        <a:spcBef>
                          <a:spcPts val="300"/>
                        </a:spcBef>
                        <a:buFont typeface="Arial" panose="020B0604020202020204" pitchFamily="34" charset="0"/>
                        <a:buChar char="•"/>
                      </a:pPr>
                      <a:r>
                        <a:rPr lang="en-GB" sz="1800" dirty="0" err="1">
                          <a:solidFill>
                            <a:srgbClr val="245473"/>
                          </a:solidFill>
                          <a:latin typeface="+mj-lt"/>
                          <a:cs typeface="Arial"/>
                        </a:rPr>
                        <a:t>aktuelle</a:t>
                      </a:r>
                      <a:r>
                        <a:rPr lang="en-GB" sz="1800" dirty="0">
                          <a:solidFill>
                            <a:srgbClr val="245473"/>
                          </a:solidFill>
                          <a:latin typeface="+mj-lt"/>
                          <a:cs typeface="Arial"/>
                        </a:rPr>
                        <a:t> und </a:t>
                      </a:r>
                      <a:r>
                        <a:rPr lang="en-GB" sz="1800" dirty="0" err="1">
                          <a:solidFill>
                            <a:srgbClr val="245473"/>
                          </a:solidFill>
                          <a:latin typeface="+mj-lt"/>
                          <a:cs typeface="Arial"/>
                        </a:rPr>
                        <a:t>potenzielle</a:t>
                      </a:r>
                      <a:r>
                        <a:rPr lang="en-GB" sz="1800" dirty="0">
                          <a:solidFill>
                            <a:srgbClr val="245473"/>
                          </a:solidFill>
                          <a:latin typeface="+mj-lt"/>
                          <a:cs typeface="Arial"/>
                        </a:rPr>
                        <a:t> </a:t>
                      </a:r>
                      <a:r>
                        <a:rPr lang="en-GB" sz="1800" dirty="0" err="1">
                          <a:solidFill>
                            <a:srgbClr val="245473"/>
                          </a:solidFill>
                          <a:latin typeface="+mj-lt"/>
                          <a:cs typeface="Arial"/>
                        </a:rPr>
                        <a:t>Kunden</a:t>
                      </a:r>
                      <a:endParaRPr lang="en-GB" sz="1800" dirty="0">
                        <a:solidFill>
                          <a:srgbClr val="245473"/>
                        </a:solidFill>
                        <a:latin typeface="+mj-lt"/>
                        <a:cs typeface="Arial"/>
                      </a:endParaRPr>
                    </a:p>
                    <a:p>
                      <a:pPr marL="377190" indent="-285750">
                        <a:lnSpc>
                          <a:spcPct val="100000"/>
                        </a:lnSpc>
                        <a:spcBef>
                          <a:spcPts val="300"/>
                        </a:spcBef>
                        <a:buFont typeface="Arial" panose="020B0604020202020204" pitchFamily="34" charset="0"/>
                        <a:buChar char="•"/>
                      </a:pPr>
                      <a:r>
                        <a:rPr lang="en-GB" sz="1800" dirty="0" err="1">
                          <a:solidFill>
                            <a:srgbClr val="245473"/>
                          </a:solidFill>
                          <a:latin typeface="+mj-lt"/>
                          <a:cs typeface="Arial"/>
                        </a:rPr>
                        <a:t>aktuelle</a:t>
                      </a:r>
                      <a:r>
                        <a:rPr lang="en-GB" sz="1800" dirty="0">
                          <a:solidFill>
                            <a:srgbClr val="245473"/>
                          </a:solidFill>
                          <a:latin typeface="+mj-lt"/>
                          <a:cs typeface="Arial"/>
                        </a:rPr>
                        <a:t> und </a:t>
                      </a:r>
                      <a:r>
                        <a:rPr lang="en-GB" sz="1800" dirty="0" err="1">
                          <a:solidFill>
                            <a:srgbClr val="245473"/>
                          </a:solidFill>
                          <a:latin typeface="+mj-lt"/>
                          <a:cs typeface="Arial"/>
                        </a:rPr>
                        <a:t>potenzielle</a:t>
                      </a:r>
                      <a:r>
                        <a:rPr lang="en-GB" sz="1800" dirty="0">
                          <a:solidFill>
                            <a:srgbClr val="245473"/>
                          </a:solidFill>
                          <a:latin typeface="+mj-lt"/>
                          <a:cs typeface="Arial"/>
                        </a:rPr>
                        <a:t> </a:t>
                      </a:r>
                      <a:r>
                        <a:rPr lang="en-GB" sz="1800" dirty="0" err="1">
                          <a:solidFill>
                            <a:srgbClr val="245473"/>
                          </a:solidFill>
                          <a:latin typeface="+mj-lt"/>
                          <a:cs typeface="Arial"/>
                        </a:rPr>
                        <a:t>Lieferanten</a:t>
                      </a:r>
                      <a:endParaRPr lang="en-GB" sz="1800" dirty="0">
                        <a:solidFill>
                          <a:srgbClr val="245473"/>
                        </a:solidFill>
                        <a:latin typeface="+mj-lt"/>
                        <a:cs typeface="Arial"/>
                      </a:endParaRPr>
                    </a:p>
                    <a:p>
                      <a:pPr marL="377190" indent="-285750">
                        <a:lnSpc>
                          <a:spcPct val="100000"/>
                        </a:lnSpc>
                        <a:spcBef>
                          <a:spcPts val="300"/>
                        </a:spcBef>
                        <a:buFont typeface="Arial" panose="020B0604020202020204" pitchFamily="34" charset="0"/>
                        <a:buChar char="•"/>
                      </a:pPr>
                      <a:r>
                        <a:rPr lang="en-GB" sz="1800" dirty="0" err="1">
                          <a:solidFill>
                            <a:srgbClr val="245473"/>
                          </a:solidFill>
                          <a:latin typeface="+mj-lt"/>
                          <a:cs typeface="Arial"/>
                        </a:rPr>
                        <a:t>Substitutionsprodukte</a:t>
                      </a:r>
                      <a:r>
                        <a:rPr lang="en-GB" sz="1800" dirty="0">
                          <a:solidFill>
                            <a:srgbClr val="245473"/>
                          </a:solidFill>
                          <a:latin typeface="+mj-lt"/>
                          <a:cs typeface="Arial"/>
                        </a:rPr>
                        <a:t> und </a:t>
                      </a:r>
                      <a:r>
                        <a:rPr lang="en-GB" sz="1800" dirty="0" err="1">
                          <a:solidFill>
                            <a:srgbClr val="245473"/>
                          </a:solidFill>
                          <a:latin typeface="+mj-lt"/>
                          <a:cs typeface="Arial"/>
                        </a:rPr>
                        <a:t>neue</a:t>
                      </a:r>
                      <a:r>
                        <a:rPr lang="en-GB" sz="1800" dirty="0">
                          <a:solidFill>
                            <a:srgbClr val="245473"/>
                          </a:solidFill>
                          <a:latin typeface="+mj-lt"/>
                          <a:cs typeface="Arial"/>
                        </a:rPr>
                        <a:t> </a:t>
                      </a:r>
                      <a:r>
                        <a:rPr lang="en-GB" sz="1800" dirty="0" err="1">
                          <a:solidFill>
                            <a:srgbClr val="245473"/>
                          </a:solidFill>
                          <a:latin typeface="+mj-lt"/>
                          <a:cs typeface="Arial"/>
                        </a:rPr>
                        <a:t>Technologien</a:t>
                      </a:r>
                      <a:endParaRPr lang="en-GB" sz="1800" dirty="0">
                        <a:solidFill>
                          <a:srgbClr val="245473"/>
                        </a:solidFill>
                        <a:latin typeface="+mj-lt"/>
                        <a:cs typeface="Arial"/>
                      </a:endParaRPr>
                    </a:p>
                  </a:txBody>
                  <a:tcPr marL="0" marR="0" marT="101600" marB="0" anchor="ctr"/>
                </a:tc>
                <a:tc>
                  <a:txBody>
                    <a:bodyPr/>
                    <a:lstStyle/>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eue Geschäftsmodelle</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neue Wettbewerber</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Änderungen in </a:t>
                      </a:r>
                      <a:r>
                        <a:rPr lang="en-GB" sz="1800" dirty="0" err="1">
                          <a:solidFill>
                            <a:srgbClr val="245473"/>
                          </a:solidFill>
                          <a:latin typeface="+mj-lt"/>
                          <a:cs typeface="Arial"/>
                        </a:rPr>
                        <a:t>benachbarten </a:t>
                      </a:r>
                      <a:r>
                        <a:rPr lang="en-GB" sz="1800" dirty="0">
                          <a:solidFill>
                            <a:srgbClr val="245473"/>
                          </a:solidFill>
                          <a:latin typeface="+mj-lt"/>
                          <a:cs typeface="Arial"/>
                        </a:rPr>
                        <a:t>Sektoren</a:t>
                      </a:r>
                    </a:p>
                    <a:p>
                      <a:pPr marL="377190" indent="-285750">
                        <a:lnSpc>
                          <a:spcPct val="100000"/>
                        </a:lnSpc>
                        <a:spcBef>
                          <a:spcPts val="300"/>
                        </a:spcBef>
                        <a:buFont typeface="Arial" panose="020B0604020202020204" pitchFamily="34" charset="0"/>
                        <a:buChar char="•"/>
                      </a:pPr>
                      <a:r>
                        <a:rPr lang="en-GB" sz="1800" dirty="0">
                          <a:solidFill>
                            <a:srgbClr val="245473"/>
                          </a:solidFill>
                          <a:latin typeface="+mj-lt"/>
                          <a:cs typeface="Arial"/>
                        </a:rPr>
                        <a:t>Änderungen im </a:t>
                      </a:r>
                      <a:r>
                        <a:rPr lang="en-GB" sz="1800" dirty="0" err="1">
                          <a:solidFill>
                            <a:srgbClr val="245473"/>
                          </a:solidFill>
                          <a:latin typeface="+mj-lt"/>
                          <a:cs typeface="Arial"/>
                        </a:rPr>
                        <a:t>Verhalten</a:t>
                      </a:r>
                      <a:r>
                        <a:rPr lang="en-GB" sz="1800" dirty="0">
                          <a:solidFill>
                            <a:srgbClr val="245473"/>
                          </a:solidFill>
                          <a:latin typeface="+mj-lt"/>
                          <a:cs typeface="Arial"/>
                        </a:rPr>
                        <a:t> der Kapital-</a:t>
                      </a:r>
                      <a:r>
                        <a:rPr lang="en-GB" sz="1800" dirty="0" err="1">
                          <a:solidFill>
                            <a:srgbClr val="245473"/>
                          </a:solidFill>
                          <a:latin typeface="+mj-lt"/>
                          <a:cs typeface="Arial"/>
                        </a:rPr>
                        <a:t>Märkte</a:t>
                      </a:r>
                      <a:r>
                        <a:rPr lang="en-GB" sz="1800" dirty="0">
                          <a:solidFill>
                            <a:srgbClr val="245473"/>
                          </a:solidFill>
                          <a:latin typeface="+mj-lt"/>
                          <a:cs typeface="Arial"/>
                        </a:rPr>
                        <a:t> im Vergleich zur Industrie</a:t>
                      </a:r>
                    </a:p>
                  </a:txBody>
                  <a:tcPr marL="0" marR="0" marT="101600" marB="0"/>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5230230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7072" y="502054"/>
            <a:ext cx="9625837" cy="881568"/>
          </a:xfrm>
        </p:spPr>
        <p:txBody>
          <a:bodyPr>
            <a:noAutofit/>
          </a:bodyPr>
          <a:lstStyle/>
          <a:p>
            <a:r>
              <a:rPr lang="en-GB" sz="3200" dirty="0"/>
              <a:t>Inhalt von Restrukturierungskonzepten: Bedeutung eines </a:t>
            </a:r>
            <a:r>
              <a:rPr lang="en-GB" sz="3200" dirty="0" err="1"/>
              <a:t>neuen</a:t>
            </a:r>
            <a:r>
              <a:rPr lang="en-GB" sz="3200" dirty="0"/>
              <a:t> </a:t>
            </a:r>
            <a:r>
              <a:rPr lang="en-GB" sz="3200" dirty="0" err="1"/>
              <a:t>Leitbildes</a:t>
            </a:r>
            <a:r>
              <a:rPr lang="en-GB" sz="3200" dirty="0"/>
              <a:t> (</a:t>
            </a:r>
            <a:r>
              <a:rPr lang="en-GB" sz="3200" dirty="0" err="1"/>
              <a:t>siehe</a:t>
            </a:r>
            <a:r>
              <a:rPr lang="en-GB" sz="3200" dirty="0"/>
              <a:t> </a:t>
            </a:r>
            <a:r>
              <a:rPr lang="en-GB" sz="3200" dirty="0" err="1"/>
              <a:t>auch</a:t>
            </a:r>
            <a:r>
              <a:rPr lang="en-GB" sz="3200" dirty="0"/>
              <a:t> </a:t>
            </a:r>
            <a:r>
              <a:rPr lang="en-GB" sz="3200" dirty="0" err="1"/>
              <a:t>Zusatzressourcen</a:t>
            </a:r>
            <a:r>
              <a:rPr lang="en-GB" sz="3200" dirty="0"/>
              <a: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17505" y="1843478"/>
            <a:ext cx="2999530"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Zu einem umfassenden Restrukturierungskonzept gehört auch das zukünftige Leitbild des restrukturierten Unternehmens.</a:t>
            </a:r>
            <a:endParaRPr lang="en-US" sz="1800" dirty="0">
              <a:solidFill>
                <a:srgbClr val="245473"/>
              </a:solidFill>
            </a:endParaRP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Dort </a:t>
            </a:r>
            <a:r>
              <a:rPr lang="en-GB" sz="1800" dirty="0" err="1">
                <a:solidFill>
                  <a:srgbClr val="245473"/>
                </a:solidFill>
                <a:latin typeface="+mj-lt"/>
                <a:ea typeface="Open Sans Light" panose="020B0306030504020204" pitchFamily="34" charset="0"/>
                <a:cs typeface="Open Sans Light" panose="020B0306030504020204" pitchFamily="34" charset="0"/>
              </a:rPr>
              <a:t>werden</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Vorgehens-weisen</a:t>
            </a:r>
            <a:r>
              <a:rPr lang="en-GB" sz="1800" dirty="0">
                <a:solidFill>
                  <a:srgbClr val="245473"/>
                </a:solidFill>
                <a:latin typeface="+mj-lt"/>
                <a:ea typeface="Open Sans Light" panose="020B0306030504020204" pitchFamily="34" charset="0"/>
                <a:cs typeface="Open Sans Light" panose="020B0306030504020204" pitchFamily="34" charset="0"/>
              </a:rPr>
              <a:t> und </a:t>
            </a:r>
            <a:r>
              <a:rPr lang="en-GB" sz="1800" dirty="0" err="1">
                <a:solidFill>
                  <a:srgbClr val="245473"/>
                </a:solidFill>
                <a:latin typeface="+mj-lt"/>
                <a:ea typeface="Open Sans Light" panose="020B0306030504020204" pitchFamily="34" charset="0"/>
                <a:cs typeface="Open Sans Light" panose="020B0306030504020204" pitchFamily="34" charset="0"/>
              </a:rPr>
              <a:t>Potenziale</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aufgezeigt</a:t>
            </a:r>
            <a:r>
              <a:rPr lang="en-GB" sz="1800" dirty="0">
                <a:solidFill>
                  <a:srgbClr val="245473"/>
                </a:solidFill>
                <a:latin typeface="+mj-lt"/>
                <a:ea typeface="Open Sans Light" panose="020B0306030504020204" pitchFamily="34" charset="0"/>
                <a:cs typeface="Open Sans Light" panose="020B0306030504020204" pitchFamily="34" charset="0"/>
              </a:rPr>
              <a:t>, die das </a:t>
            </a:r>
            <a:r>
              <a:rPr lang="en-GB" sz="1800" dirty="0" err="1">
                <a:solidFill>
                  <a:srgbClr val="245473"/>
                </a:solidFill>
                <a:latin typeface="+mj-lt"/>
                <a:ea typeface="Open Sans Light" panose="020B0306030504020204" pitchFamily="34" charset="0"/>
                <a:cs typeface="Open Sans Light" panose="020B0306030504020204" pitchFamily="34" charset="0"/>
              </a:rPr>
              <a:t>Unter-nehmen</a:t>
            </a:r>
            <a:r>
              <a:rPr lang="en-GB" sz="1800" dirty="0">
                <a:solidFill>
                  <a:srgbClr val="245473"/>
                </a:solidFill>
                <a:latin typeface="+mj-lt"/>
                <a:ea typeface="Open Sans Light" panose="020B0306030504020204" pitchFamily="34" charset="0"/>
                <a:cs typeface="Open Sans Light" panose="020B0306030504020204" pitchFamily="34" charset="0"/>
              </a:rPr>
              <a:t> wettbewerbsfähig machen und damit die Möglichkeit eröffnen, eine nachhaltige, </a:t>
            </a:r>
            <a:r>
              <a:rPr lang="en-GB" sz="1800" dirty="0" err="1">
                <a:solidFill>
                  <a:srgbClr val="245473"/>
                </a:solidFill>
                <a:latin typeface="+mj-lt"/>
                <a:ea typeface="Open Sans Light" panose="020B0306030504020204" pitchFamily="34" charset="0"/>
                <a:cs typeface="Open Sans Light" panose="020B0306030504020204" pitchFamily="34" charset="0"/>
              </a:rPr>
              <a:t>branchenübliche</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Umsatz-rendite</a:t>
            </a:r>
            <a:r>
              <a:rPr lang="en-GB" sz="1800" dirty="0">
                <a:solidFill>
                  <a:srgbClr val="245473"/>
                </a:solidFill>
                <a:latin typeface="+mj-lt"/>
                <a:ea typeface="Open Sans Light" panose="020B0306030504020204" pitchFamily="34" charset="0"/>
                <a:cs typeface="Open Sans Light" panose="020B0306030504020204" pitchFamily="34" charset="0"/>
              </a:rPr>
              <a:t> und </a:t>
            </a:r>
            <a:r>
              <a:rPr lang="en-GB" sz="1800" dirty="0" err="1">
                <a:solidFill>
                  <a:srgbClr val="245473"/>
                </a:solidFill>
                <a:latin typeface="+mj-lt"/>
                <a:ea typeface="Open Sans Light" panose="020B0306030504020204" pitchFamily="34" charset="0"/>
                <a:cs typeface="Open Sans Light" panose="020B0306030504020204" pitchFamily="34" charset="0"/>
              </a:rPr>
              <a:t>Eigenkapital</a:t>
            </a:r>
            <a:r>
              <a:rPr lang="en-GB" sz="1800" dirty="0">
                <a:solidFill>
                  <a:srgbClr val="245473"/>
                </a:solidFill>
                <a:latin typeface="+mj-lt"/>
                <a:ea typeface="Open Sans Light" panose="020B0306030504020204" pitchFamily="34" charset="0"/>
                <a:cs typeface="Open Sans Light" panose="020B0306030504020204" pitchFamily="34" charset="0"/>
              </a:rPr>
              <a:t>-quote zu erreichen, um für Eigen- und </a:t>
            </a:r>
            <a:r>
              <a:rPr lang="en-GB" sz="1800" dirty="0" err="1">
                <a:solidFill>
                  <a:srgbClr val="245473"/>
                </a:solidFill>
                <a:latin typeface="+mj-lt"/>
                <a:ea typeface="Open Sans Light" panose="020B0306030504020204" pitchFamily="34" charset="0"/>
                <a:cs typeface="Open Sans Light" panose="020B0306030504020204" pitchFamily="34" charset="0"/>
              </a:rPr>
              <a:t>Fremdkapitalgeber</a:t>
            </a:r>
            <a:r>
              <a:rPr lang="en-GB" sz="1800" dirty="0">
                <a:solidFill>
                  <a:srgbClr val="245473"/>
                </a:solidFill>
                <a:latin typeface="+mj-lt"/>
                <a:ea typeface="Open Sans Light" panose="020B0306030504020204" pitchFamily="34" charset="0"/>
                <a:cs typeface="Open Sans Light" panose="020B0306030504020204" pitchFamily="34" charset="0"/>
              </a:rPr>
              <a:t> wieder attraktiv </a:t>
            </a:r>
            <a:r>
              <a:rPr lang="en-GB" sz="1800" dirty="0" err="1">
                <a:solidFill>
                  <a:srgbClr val="245473"/>
                </a:solidFill>
                <a:latin typeface="+mj-lt"/>
                <a:ea typeface="Open Sans Light" panose="020B0306030504020204" pitchFamily="34" charset="0"/>
                <a:cs typeface="Open Sans Light" panose="020B0306030504020204" pitchFamily="34" charset="0"/>
              </a:rPr>
              <a:t>zu</a:t>
            </a:r>
            <a:r>
              <a:rPr lang="en-GB" sz="1800" dirty="0">
                <a:solidFill>
                  <a:srgbClr val="245473"/>
                </a:solidFill>
                <a:latin typeface="+mj-lt"/>
                <a:ea typeface="Open Sans Light" panose="020B0306030504020204" pitchFamily="34" charset="0"/>
                <a:cs typeface="Open Sans Light" panose="020B0306030504020204" pitchFamily="34" charset="0"/>
              </a:rPr>
              <a:t> warden.</a:t>
            </a:r>
          </a:p>
        </p:txBody>
      </p:sp>
      <p:sp>
        <p:nvSpPr>
          <p:cNvPr id="7" name="Arc 24">
            <a:extLst>
              <a:ext uri="{FF2B5EF4-FFF2-40B4-BE49-F238E27FC236}">
                <a16:creationId xmlns:a16="http://schemas.microsoft.com/office/drawing/2014/main" xmlns="" id="{50CA720C-4BA6-44FB-BEA6-F8DB2D677F55}"/>
              </a:ext>
            </a:extLst>
          </p:cNvPr>
          <p:cNvSpPr/>
          <p:nvPr/>
        </p:nvSpPr>
        <p:spPr>
          <a:xfrm rot="10800000">
            <a:off x="5614569" y="1951437"/>
            <a:ext cx="3429893" cy="3661770"/>
          </a:xfrm>
          <a:prstGeom prst="arc">
            <a:avLst>
              <a:gd name="adj1" fmla="val 13616883"/>
              <a:gd name="adj2" fmla="val 18757689"/>
            </a:avLst>
          </a:prstGeom>
          <a:ln w="4445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8" name="Arc 23">
            <a:extLst>
              <a:ext uri="{FF2B5EF4-FFF2-40B4-BE49-F238E27FC236}">
                <a16:creationId xmlns:a16="http://schemas.microsoft.com/office/drawing/2014/main" xmlns="" id="{DAE4797C-1501-4323-8DF0-26A4E54F369B}"/>
              </a:ext>
            </a:extLst>
          </p:cNvPr>
          <p:cNvSpPr/>
          <p:nvPr/>
        </p:nvSpPr>
        <p:spPr>
          <a:xfrm>
            <a:off x="5611603" y="2119695"/>
            <a:ext cx="3429893" cy="3661770"/>
          </a:xfrm>
          <a:prstGeom prst="arc">
            <a:avLst>
              <a:gd name="adj1" fmla="val 13616883"/>
              <a:gd name="adj2" fmla="val 18757689"/>
            </a:avLst>
          </a:prstGeom>
          <a:ln w="444500">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200" dirty="0">
              <a:latin typeface="+mj-lt"/>
            </a:endParaRPr>
          </a:p>
        </p:txBody>
      </p:sp>
      <p:sp>
        <p:nvSpPr>
          <p:cNvPr id="10" name="Freeform 1">
            <a:extLst>
              <a:ext uri="{FF2B5EF4-FFF2-40B4-BE49-F238E27FC236}">
                <a16:creationId xmlns:a16="http://schemas.microsoft.com/office/drawing/2014/main" xmlns="" id="{7B5E45DC-8EFB-4828-93D8-06E42AB0C3E9}"/>
              </a:ext>
            </a:extLst>
          </p:cNvPr>
          <p:cNvSpPr>
            <a:spLocks noChangeArrowheads="1"/>
          </p:cNvSpPr>
          <p:nvPr/>
        </p:nvSpPr>
        <p:spPr bwMode="auto">
          <a:xfrm>
            <a:off x="6119865" y="2653116"/>
            <a:ext cx="2403226" cy="2403226"/>
          </a:xfrm>
          <a:custGeom>
            <a:avLst/>
            <a:gdLst>
              <a:gd name="connsiteX0" fmla="*/ 4140761 w 8280215"/>
              <a:gd name="connsiteY0" fmla="*/ 3562934 h 8280217"/>
              <a:gd name="connsiteX1" fmla="*/ 4737444 w 8280215"/>
              <a:gd name="connsiteY1" fmla="*/ 4160270 h 8280217"/>
              <a:gd name="connsiteX2" fmla="*/ 4140761 w 8280215"/>
              <a:gd name="connsiteY2" fmla="*/ 4757606 h 8280217"/>
              <a:gd name="connsiteX3" fmla="*/ 3542772 w 8280215"/>
              <a:gd name="connsiteY3" fmla="*/ 4160270 h 8280217"/>
              <a:gd name="connsiteX4" fmla="*/ 4140761 w 8280215"/>
              <a:gd name="connsiteY4" fmla="*/ 3562934 h 8280217"/>
              <a:gd name="connsiteX5" fmla="*/ 4140761 w 8280215"/>
              <a:gd name="connsiteY5" fmla="*/ 2949871 h 8280217"/>
              <a:gd name="connsiteX6" fmla="*/ 2952207 w 8280215"/>
              <a:gd name="connsiteY6" fmla="*/ 4137555 h 8280217"/>
              <a:gd name="connsiteX7" fmla="*/ 4140761 w 8280215"/>
              <a:gd name="connsiteY7" fmla="*/ 5325238 h 8280217"/>
              <a:gd name="connsiteX8" fmla="*/ 5328009 w 8280215"/>
              <a:gd name="connsiteY8" fmla="*/ 4137555 h 8280217"/>
              <a:gd name="connsiteX9" fmla="*/ 4140761 w 8280215"/>
              <a:gd name="connsiteY9" fmla="*/ 2949871 h 8280217"/>
              <a:gd name="connsiteX10" fmla="*/ 4140761 w 8280215"/>
              <a:gd name="connsiteY10" fmla="*/ 2358968 h 8280217"/>
              <a:gd name="connsiteX11" fmla="*/ 5918368 w 8280215"/>
              <a:gd name="connsiteY11" fmla="*/ 4137555 h 8280217"/>
              <a:gd name="connsiteX12" fmla="*/ 4140761 w 8280215"/>
              <a:gd name="connsiteY12" fmla="*/ 5915488 h 8280217"/>
              <a:gd name="connsiteX13" fmla="*/ 2361848 w 8280215"/>
              <a:gd name="connsiteY13" fmla="*/ 4137555 h 8280217"/>
              <a:gd name="connsiteX14" fmla="*/ 4140761 w 8280215"/>
              <a:gd name="connsiteY14" fmla="*/ 2358968 h 8280217"/>
              <a:gd name="connsiteX15" fmla="*/ 4140434 w 8280215"/>
              <a:gd name="connsiteY15" fmla="*/ 1770736 h 8280217"/>
              <a:gd name="connsiteX16" fmla="*/ 1771259 w 8280215"/>
              <a:gd name="connsiteY16" fmla="*/ 4140435 h 8280217"/>
              <a:gd name="connsiteX17" fmla="*/ 4140434 w 8280215"/>
              <a:gd name="connsiteY17" fmla="*/ 6509481 h 8280217"/>
              <a:gd name="connsiteX18" fmla="*/ 6508304 w 8280215"/>
              <a:gd name="connsiteY18" fmla="*/ 4140435 h 8280217"/>
              <a:gd name="connsiteX19" fmla="*/ 4140434 w 8280215"/>
              <a:gd name="connsiteY19" fmla="*/ 1770736 h 8280217"/>
              <a:gd name="connsiteX20" fmla="*/ 4140434 w 8280215"/>
              <a:gd name="connsiteY20" fmla="*/ 1180924 h 8280217"/>
              <a:gd name="connsiteX21" fmla="*/ 7099292 w 8280215"/>
              <a:gd name="connsiteY21" fmla="*/ 4140435 h 8280217"/>
              <a:gd name="connsiteX22" fmla="*/ 4140434 w 8280215"/>
              <a:gd name="connsiteY22" fmla="*/ 7099293 h 8280217"/>
              <a:gd name="connsiteX23" fmla="*/ 1180924 w 8280215"/>
              <a:gd name="connsiteY23" fmla="*/ 4140435 h 8280217"/>
              <a:gd name="connsiteX24" fmla="*/ 4140434 w 8280215"/>
              <a:gd name="connsiteY24" fmla="*/ 1180924 h 8280217"/>
              <a:gd name="connsiteX25" fmla="*/ 4140760 w 8280215"/>
              <a:gd name="connsiteY25" fmla="*/ 590418 h 8280217"/>
              <a:gd name="connsiteX26" fmla="*/ 589764 w 8280215"/>
              <a:gd name="connsiteY26" fmla="*/ 4140109 h 8280217"/>
              <a:gd name="connsiteX27" fmla="*/ 4140760 w 8280215"/>
              <a:gd name="connsiteY27" fmla="*/ 7689799 h 8280217"/>
              <a:gd name="connsiteX28" fmla="*/ 7689798 w 8280215"/>
              <a:gd name="connsiteY28" fmla="*/ 4140109 h 8280217"/>
              <a:gd name="connsiteX29" fmla="*/ 4140760 w 8280215"/>
              <a:gd name="connsiteY29" fmla="*/ 590418 h 8280217"/>
              <a:gd name="connsiteX30" fmla="*/ 4140760 w 8280215"/>
              <a:gd name="connsiteY30" fmla="*/ 0 h 8280217"/>
              <a:gd name="connsiteX31" fmla="*/ 8280215 w 8280215"/>
              <a:gd name="connsiteY31" fmla="*/ 4140109 h 8280217"/>
              <a:gd name="connsiteX32" fmla="*/ 4140760 w 8280215"/>
              <a:gd name="connsiteY32" fmla="*/ 8280217 h 8280217"/>
              <a:gd name="connsiteX33" fmla="*/ 0 w 8280215"/>
              <a:gd name="connsiteY33" fmla="*/ 4140109 h 8280217"/>
              <a:gd name="connsiteX34" fmla="*/ 4140760 w 8280215"/>
              <a:gd name="connsiteY34" fmla="*/ 0 h 828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280215" h="8280217">
                <a:moveTo>
                  <a:pt x="4140761" y="3562934"/>
                </a:moveTo>
                <a:cubicBezTo>
                  <a:pt x="4469785" y="3562934"/>
                  <a:pt x="4737444" y="3830593"/>
                  <a:pt x="4737444" y="4160270"/>
                </a:cubicBezTo>
                <a:cubicBezTo>
                  <a:pt x="4737444" y="4489948"/>
                  <a:pt x="4469785" y="4757606"/>
                  <a:pt x="4140761" y="4757606"/>
                </a:cubicBezTo>
                <a:cubicBezTo>
                  <a:pt x="3810431" y="4757606"/>
                  <a:pt x="3542772" y="4489948"/>
                  <a:pt x="3542772" y="4160270"/>
                </a:cubicBezTo>
                <a:cubicBezTo>
                  <a:pt x="3542772" y="3830593"/>
                  <a:pt x="3810431" y="3562934"/>
                  <a:pt x="4140761" y="3562934"/>
                </a:cubicBezTo>
                <a:close/>
                <a:moveTo>
                  <a:pt x="4140761" y="2949871"/>
                </a:moveTo>
                <a:cubicBezTo>
                  <a:pt x="3485097" y="2949871"/>
                  <a:pt x="2952207" y="3482011"/>
                  <a:pt x="2952207" y="4137555"/>
                </a:cubicBezTo>
                <a:cubicBezTo>
                  <a:pt x="2952207" y="4791792"/>
                  <a:pt x="3485097" y="5325238"/>
                  <a:pt x="4140761" y="5325238"/>
                </a:cubicBezTo>
                <a:cubicBezTo>
                  <a:pt x="4795119" y="5325238"/>
                  <a:pt x="5328009" y="4791792"/>
                  <a:pt x="5328009" y="4137555"/>
                </a:cubicBezTo>
                <a:cubicBezTo>
                  <a:pt x="5328009" y="3482011"/>
                  <a:pt x="4795119" y="2949871"/>
                  <a:pt x="4140761" y="2949871"/>
                </a:cubicBezTo>
                <a:close/>
                <a:moveTo>
                  <a:pt x="4140761" y="2358968"/>
                </a:moveTo>
                <a:cubicBezTo>
                  <a:pt x="5120339" y="2358968"/>
                  <a:pt x="5918368" y="3156851"/>
                  <a:pt x="5918368" y="4137555"/>
                </a:cubicBezTo>
                <a:cubicBezTo>
                  <a:pt x="5918368" y="5117605"/>
                  <a:pt x="5120339" y="5915488"/>
                  <a:pt x="4140761" y="5915488"/>
                </a:cubicBezTo>
                <a:cubicBezTo>
                  <a:pt x="3159877" y="5915488"/>
                  <a:pt x="2361848" y="5117605"/>
                  <a:pt x="2361848" y="4137555"/>
                </a:cubicBezTo>
                <a:cubicBezTo>
                  <a:pt x="2361848" y="3156851"/>
                  <a:pt x="3159877" y="2358968"/>
                  <a:pt x="4140761" y="2358968"/>
                </a:cubicBezTo>
                <a:close/>
                <a:moveTo>
                  <a:pt x="4140434" y="1770736"/>
                </a:moveTo>
                <a:cubicBezTo>
                  <a:pt x="2833731" y="1770736"/>
                  <a:pt x="1771259" y="2834096"/>
                  <a:pt x="1771259" y="4140435"/>
                </a:cubicBezTo>
                <a:cubicBezTo>
                  <a:pt x="1771259" y="5446774"/>
                  <a:pt x="2833731" y="6509481"/>
                  <a:pt x="4140434" y="6509481"/>
                </a:cubicBezTo>
                <a:cubicBezTo>
                  <a:pt x="5445832" y="6509481"/>
                  <a:pt x="6508304" y="5446774"/>
                  <a:pt x="6508304" y="4140435"/>
                </a:cubicBezTo>
                <a:cubicBezTo>
                  <a:pt x="6508304" y="2834096"/>
                  <a:pt x="5445832" y="1770736"/>
                  <a:pt x="4140434" y="1770736"/>
                </a:cubicBezTo>
                <a:close/>
                <a:moveTo>
                  <a:pt x="4140434" y="1180924"/>
                </a:moveTo>
                <a:cubicBezTo>
                  <a:pt x="5771692" y="1180924"/>
                  <a:pt x="7099292" y="2508164"/>
                  <a:pt x="7099292" y="4140435"/>
                </a:cubicBezTo>
                <a:cubicBezTo>
                  <a:pt x="7099292" y="5772053"/>
                  <a:pt x="5771692" y="7099293"/>
                  <a:pt x="4140434" y="7099293"/>
                </a:cubicBezTo>
                <a:cubicBezTo>
                  <a:pt x="2508524" y="7099293"/>
                  <a:pt x="1180924" y="5772053"/>
                  <a:pt x="1180924" y="4140435"/>
                </a:cubicBezTo>
                <a:cubicBezTo>
                  <a:pt x="1180924" y="2508164"/>
                  <a:pt x="2508524" y="1180924"/>
                  <a:pt x="4140434" y="1180924"/>
                </a:cubicBezTo>
                <a:close/>
                <a:moveTo>
                  <a:pt x="4140760" y="590418"/>
                </a:moveTo>
                <a:cubicBezTo>
                  <a:pt x="2183370" y="590418"/>
                  <a:pt x="589764" y="2182717"/>
                  <a:pt x="589764" y="4140109"/>
                </a:cubicBezTo>
                <a:cubicBezTo>
                  <a:pt x="589764" y="6096847"/>
                  <a:pt x="2183370" y="7689799"/>
                  <a:pt x="4140760" y="7689799"/>
                </a:cubicBezTo>
                <a:cubicBezTo>
                  <a:pt x="6097498" y="7689799"/>
                  <a:pt x="7689798" y="6096847"/>
                  <a:pt x="7689798" y="4140109"/>
                </a:cubicBezTo>
                <a:cubicBezTo>
                  <a:pt x="7689798" y="2182717"/>
                  <a:pt x="6097498" y="590418"/>
                  <a:pt x="4140760" y="590418"/>
                </a:cubicBezTo>
                <a:close/>
                <a:moveTo>
                  <a:pt x="4140760" y="0"/>
                </a:moveTo>
                <a:cubicBezTo>
                  <a:pt x="6423404" y="0"/>
                  <a:pt x="8280215" y="1856811"/>
                  <a:pt x="8280215" y="4140109"/>
                </a:cubicBezTo>
                <a:cubicBezTo>
                  <a:pt x="8280215" y="6422752"/>
                  <a:pt x="6423404" y="8280217"/>
                  <a:pt x="4140760" y="8280217"/>
                </a:cubicBezTo>
                <a:cubicBezTo>
                  <a:pt x="1857464" y="8280217"/>
                  <a:pt x="0" y="6422752"/>
                  <a:pt x="0" y="4140109"/>
                </a:cubicBezTo>
                <a:cubicBezTo>
                  <a:pt x="0" y="1856811"/>
                  <a:pt x="1857464" y="0"/>
                  <a:pt x="4140760" y="0"/>
                </a:cubicBezTo>
                <a:close/>
              </a:path>
            </a:pathLst>
          </a:custGeom>
          <a:solidFill>
            <a:schemeClr val="accent5"/>
          </a:solidFill>
          <a:ln>
            <a:noFill/>
          </a:ln>
          <a:effectLst/>
        </p:spPr>
        <p:txBody>
          <a:bodyPr wrap="square" anchor="ctr">
            <a:noAutofit/>
          </a:bodyPr>
          <a:lstStyle/>
          <a:p>
            <a:endParaRPr lang="en-GB" sz="5400" dirty="0">
              <a:latin typeface="+mj-lt"/>
            </a:endParaRPr>
          </a:p>
        </p:txBody>
      </p:sp>
      <p:sp>
        <p:nvSpPr>
          <p:cNvPr id="11" name="Freeform 1">
            <a:extLst>
              <a:ext uri="{FF2B5EF4-FFF2-40B4-BE49-F238E27FC236}">
                <a16:creationId xmlns:a16="http://schemas.microsoft.com/office/drawing/2014/main" xmlns="" id="{313744A0-4F91-4640-BE1C-B7C25355ED29}"/>
              </a:ext>
            </a:extLst>
          </p:cNvPr>
          <p:cNvSpPr>
            <a:spLocks noChangeArrowheads="1"/>
          </p:cNvSpPr>
          <p:nvPr/>
        </p:nvSpPr>
        <p:spPr bwMode="auto">
          <a:xfrm>
            <a:off x="5543045" y="2663984"/>
            <a:ext cx="562608" cy="1087598"/>
          </a:xfrm>
          <a:custGeom>
            <a:avLst/>
            <a:gdLst>
              <a:gd name="T0" fmla="*/ 347 w 2969"/>
              <a:gd name="T1" fmla="*/ 5566 h 5736"/>
              <a:gd name="T2" fmla="*/ 347 w 2969"/>
              <a:gd name="T3" fmla="*/ 5566 h 5736"/>
              <a:gd name="T4" fmla="*/ 793 w 2969"/>
              <a:gd name="T5" fmla="*/ 5735 h 5736"/>
              <a:gd name="T6" fmla="*/ 793 w 2969"/>
              <a:gd name="T7" fmla="*/ 5735 h 5736"/>
              <a:gd name="T8" fmla="*/ 2968 w 2969"/>
              <a:gd name="T9" fmla="*/ 556 h 5736"/>
              <a:gd name="T10" fmla="*/ 2968 w 2969"/>
              <a:gd name="T11" fmla="*/ 556 h 5736"/>
              <a:gd name="T12" fmla="*/ 2390 w 2969"/>
              <a:gd name="T13" fmla="*/ 0 h 5736"/>
              <a:gd name="T14" fmla="*/ 2390 w 2969"/>
              <a:gd name="T15" fmla="*/ 0 h 5736"/>
              <a:gd name="T16" fmla="*/ 0 w 2969"/>
              <a:gd name="T17" fmla="*/ 5665 h 5736"/>
              <a:gd name="T18" fmla="*/ 0 w 2969"/>
              <a:gd name="T19" fmla="*/ 5665 h 5736"/>
              <a:gd name="T20" fmla="*/ 347 w 2969"/>
              <a:gd name="T21" fmla="*/ 5566 h 5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69" h="5736">
                <a:moveTo>
                  <a:pt x="347" y="5566"/>
                </a:moveTo>
                <a:lnTo>
                  <a:pt x="347" y="5566"/>
                </a:lnTo>
                <a:cubicBezTo>
                  <a:pt x="517" y="5566"/>
                  <a:pt x="672" y="5631"/>
                  <a:pt x="793" y="5735"/>
                </a:cubicBezTo>
                <a:lnTo>
                  <a:pt x="793" y="5735"/>
                </a:lnTo>
                <a:cubicBezTo>
                  <a:pt x="923" y="3754"/>
                  <a:pt x="1723" y="1953"/>
                  <a:pt x="2968" y="556"/>
                </a:cubicBezTo>
                <a:lnTo>
                  <a:pt x="2968" y="556"/>
                </a:lnTo>
                <a:cubicBezTo>
                  <a:pt x="2678" y="514"/>
                  <a:pt x="2442" y="287"/>
                  <a:pt x="2390" y="0"/>
                </a:cubicBezTo>
                <a:lnTo>
                  <a:pt x="2390" y="0"/>
                </a:lnTo>
                <a:cubicBezTo>
                  <a:pt x="974" y="1577"/>
                  <a:pt x="141" y="3553"/>
                  <a:pt x="0" y="5665"/>
                </a:cubicBezTo>
                <a:lnTo>
                  <a:pt x="0" y="5665"/>
                </a:lnTo>
                <a:cubicBezTo>
                  <a:pt x="102" y="5602"/>
                  <a:pt x="221" y="5566"/>
                  <a:pt x="347" y="5566"/>
                </a:cubicBezTo>
              </a:path>
            </a:pathLst>
          </a:custGeom>
          <a:solidFill>
            <a:schemeClr val="accent1"/>
          </a:solidFill>
          <a:ln>
            <a:noFill/>
          </a:ln>
          <a:effectLst/>
        </p:spPr>
        <p:txBody>
          <a:bodyPr wrap="none" anchor="ctr"/>
          <a:lstStyle/>
          <a:p>
            <a:endParaRPr lang="en-GB" sz="5400" dirty="0">
              <a:latin typeface="+mj-lt"/>
            </a:endParaRPr>
          </a:p>
        </p:txBody>
      </p:sp>
      <p:sp>
        <p:nvSpPr>
          <p:cNvPr id="12" name="Freeform 4">
            <a:extLst>
              <a:ext uri="{FF2B5EF4-FFF2-40B4-BE49-F238E27FC236}">
                <a16:creationId xmlns:a16="http://schemas.microsoft.com/office/drawing/2014/main" xmlns="" id="{5D96A987-C64F-456A-80C6-A16400CFF6F5}"/>
              </a:ext>
            </a:extLst>
          </p:cNvPr>
          <p:cNvSpPr>
            <a:spLocks noChangeArrowheads="1"/>
          </p:cNvSpPr>
          <p:nvPr/>
        </p:nvSpPr>
        <p:spPr bwMode="auto">
          <a:xfrm>
            <a:off x="8561736" y="2670672"/>
            <a:ext cx="556756" cy="1086762"/>
          </a:xfrm>
          <a:custGeom>
            <a:avLst/>
            <a:gdLst>
              <a:gd name="T0" fmla="*/ 2582 w 2939"/>
              <a:gd name="T1" fmla="*/ 5567 h 5731"/>
              <a:gd name="T2" fmla="*/ 2582 w 2939"/>
              <a:gd name="T3" fmla="*/ 5567 h 5731"/>
              <a:gd name="T4" fmla="*/ 2938 w 2939"/>
              <a:gd name="T5" fmla="*/ 5671 h 5731"/>
              <a:gd name="T6" fmla="*/ 2938 w 2939"/>
              <a:gd name="T7" fmla="*/ 5671 h 5731"/>
              <a:gd name="T8" fmla="*/ 576 w 2939"/>
              <a:gd name="T9" fmla="*/ 0 h 5731"/>
              <a:gd name="T10" fmla="*/ 576 w 2939"/>
              <a:gd name="T11" fmla="*/ 0 h 5731"/>
              <a:gd name="T12" fmla="*/ 0 w 2939"/>
              <a:gd name="T13" fmla="*/ 557 h 5731"/>
              <a:gd name="T14" fmla="*/ 0 w 2939"/>
              <a:gd name="T15" fmla="*/ 557 h 5731"/>
              <a:gd name="T16" fmla="*/ 2145 w 2939"/>
              <a:gd name="T17" fmla="*/ 5730 h 5731"/>
              <a:gd name="T18" fmla="*/ 2145 w 2939"/>
              <a:gd name="T19" fmla="*/ 5730 h 5731"/>
              <a:gd name="T20" fmla="*/ 2582 w 2939"/>
              <a:gd name="T21" fmla="*/ 5567 h 5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39" h="5731">
                <a:moveTo>
                  <a:pt x="2582" y="5567"/>
                </a:moveTo>
                <a:lnTo>
                  <a:pt x="2582" y="5567"/>
                </a:lnTo>
                <a:cubicBezTo>
                  <a:pt x="2712" y="5567"/>
                  <a:pt x="2834" y="5606"/>
                  <a:pt x="2938" y="5671"/>
                </a:cubicBezTo>
                <a:lnTo>
                  <a:pt x="2938" y="5671"/>
                </a:lnTo>
                <a:cubicBezTo>
                  <a:pt x="2807" y="3560"/>
                  <a:pt x="1983" y="1581"/>
                  <a:pt x="576" y="0"/>
                </a:cubicBezTo>
                <a:lnTo>
                  <a:pt x="576" y="0"/>
                </a:lnTo>
                <a:cubicBezTo>
                  <a:pt x="524" y="287"/>
                  <a:pt x="289" y="514"/>
                  <a:pt x="0" y="557"/>
                </a:cubicBezTo>
                <a:lnTo>
                  <a:pt x="0" y="557"/>
                </a:lnTo>
                <a:cubicBezTo>
                  <a:pt x="1233" y="1956"/>
                  <a:pt x="2022" y="3753"/>
                  <a:pt x="2145" y="5730"/>
                </a:cubicBezTo>
                <a:lnTo>
                  <a:pt x="2145" y="5730"/>
                </a:lnTo>
                <a:cubicBezTo>
                  <a:pt x="2264" y="5629"/>
                  <a:pt x="2417" y="5567"/>
                  <a:pt x="2582" y="5567"/>
                </a:cubicBezTo>
              </a:path>
            </a:pathLst>
          </a:custGeom>
          <a:solidFill>
            <a:schemeClr val="accent3"/>
          </a:solidFill>
          <a:ln>
            <a:noFill/>
          </a:ln>
          <a:effectLst/>
        </p:spPr>
        <p:txBody>
          <a:bodyPr wrap="none" anchor="ctr"/>
          <a:lstStyle/>
          <a:p>
            <a:endParaRPr lang="en-GB" sz="5400" dirty="0">
              <a:latin typeface="+mj-lt"/>
            </a:endParaRPr>
          </a:p>
        </p:txBody>
      </p:sp>
      <p:sp>
        <p:nvSpPr>
          <p:cNvPr id="13" name="Freeform 5">
            <a:extLst>
              <a:ext uri="{FF2B5EF4-FFF2-40B4-BE49-F238E27FC236}">
                <a16:creationId xmlns:a16="http://schemas.microsoft.com/office/drawing/2014/main" xmlns="" id="{85D466B1-E1DD-4B3D-9957-ED8AFFDD5602}"/>
              </a:ext>
            </a:extLst>
          </p:cNvPr>
          <p:cNvSpPr>
            <a:spLocks noChangeArrowheads="1"/>
          </p:cNvSpPr>
          <p:nvPr/>
        </p:nvSpPr>
        <p:spPr bwMode="auto">
          <a:xfrm>
            <a:off x="8558393" y="3953886"/>
            <a:ext cx="560937" cy="1090106"/>
          </a:xfrm>
          <a:custGeom>
            <a:avLst/>
            <a:gdLst>
              <a:gd name="T0" fmla="*/ 0 w 2959"/>
              <a:gd name="T1" fmla="*/ 5238 h 5750"/>
              <a:gd name="T2" fmla="*/ 0 w 2959"/>
              <a:gd name="T3" fmla="*/ 5238 h 5750"/>
              <a:gd name="T4" fmla="*/ 617 w 2959"/>
              <a:gd name="T5" fmla="*/ 5749 h 5750"/>
              <a:gd name="T6" fmla="*/ 617 w 2959"/>
              <a:gd name="T7" fmla="*/ 5749 h 5750"/>
              <a:gd name="T8" fmla="*/ 2958 w 2959"/>
              <a:gd name="T9" fmla="*/ 54 h 5750"/>
              <a:gd name="T10" fmla="*/ 2958 w 2959"/>
              <a:gd name="T11" fmla="*/ 54 h 5750"/>
              <a:gd name="T12" fmla="*/ 2598 w 2959"/>
              <a:gd name="T13" fmla="*/ 160 h 5750"/>
              <a:gd name="T14" fmla="*/ 2598 w 2959"/>
              <a:gd name="T15" fmla="*/ 160 h 5750"/>
              <a:gd name="T16" fmla="*/ 2164 w 2959"/>
              <a:gd name="T17" fmla="*/ 0 h 5750"/>
              <a:gd name="T18" fmla="*/ 2164 w 2959"/>
              <a:gd name="T19" fmla="*/ 0 h 5750"/>
              <a:gd name="T20" fmla="*/ 0 w 2959"/>
              <a:gd name="T21" fmla="*/ 5238 h 5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59" h="5750">
                <a:moveTo>
                  <a:pt x="0" y="5238"/>
                </a:moveTo>
                <a:lnTo>
                  <a:pt x="0" y="5238"/>
                </a:lnTo>
                <a:cubicBezTo>
                  <a:pt x="295" y="5256"/>
                  <a:pt x="543" y="5470"/>
                  <a:pt x="617" y="5749"/>
                </a:cubicBezTo>
                <a:lnTo>
                  <a:pt x="617" y="5749"/>
                </a:lnTo>
                <a:cubicBezTo>
                  <a:pt x="2020" y="4159"/>
                  <a:pt x="2836" y="2173"/>
                  <a:pt x="2958" y="54"/>
                </a:cubicBezTo>
                <a:lnTo>
                  <a:pt x="2958" y="54"/>
                </a:lnTo>
                <a:cubicBezTo>
                  <a:pt x="2853" y="121"/>
                  <a:pt x="2729" y="160"/>
                  <a:pt x="2598" y="160"/>
                </a:cubicBezTo>
                <a:lnTo>
                  <a:pt x="2598" y="160"/>
                </a:lnTo>
                <a:cubicBezTo>
                  <a:pt x="2434" y="160"/>
                  <a:pt x="2282" y="99"/>
                  <a:pt x="2164" y="0"/>
                </a:cubicBezTo>
                <a:lnTo>
                  <a:pt x="2164" y="0"/>
                </a:lnTo>
                <a:cubicBezTo>
                  <a:pt x="2049" y="2003"/>
                  <a:pt x="1251" y="3825"/>
                  <a:pt x="0" y="5238"/>
                </a:cubicBezTo>
              </a:path>
            </a:pathLst>
          </a:custGeom>
          <a:solidFill>
            <a:schemeClr val="accent2"/>
          </a:solidFill>
          <a:ln>
            <a:noFill/>
          </a:ln>
          <a:effectLst/>
        </p:spPr>
        <p:txBody>
          <a:bodyPr wrap="none" anchor="ctr"/>
          <a:lstStyle/>
          <a:p>
            <a:endParaRPr lang="en-GB" sz="5400" dirty="0">
              <a:latin typeface="+mj-lt"/>
            </a:endParaRPr>
          </a:p>
        </p:txBody>
      </p:sp>
      <p:sp>
        <p:nvSpPr>
          <p:cNvPr id="14" name="Freeform 9">
            <a:extLst>
              <a:ext uri="{FF2B5EF4-FFF2-40B4-BE49-F238E27FC236}">
                <a16:creationId xmlns:a16="http://schemas.microsoft.com/office/drawing/2014/main" xmlns="" id="{D4517951-9D42-454E-90E5-8013AEEAABBA}"/>
              </a:ext>
            </a:extLst>
          </p:cNvPr>
          <p:cNvSpPr>
            <a:spLocks noChangeArrowheads="1"/>
          </p:cNvSpPr>
          <p:nvPr/>
        </p:nvSpPr>
        <p:spPr bwMode="auto">
          <a:xfrm>
            <a:off x="5981930" y="2511002"/>
            <a:ext cx="269182" cy="269182"/>
          </a:xfrm>
          <a:custGeom>
            <a:avLst/>
            <a:gdLst>
              <a:gd name="T0" fmla="*/ 0 w 1421"/>
              <a:gd name="T1" fmla="*/ 709 h 1421"/>
              <a:gd name="T2" fmla="*/ 710 w 1421"/>
              <a:gd name="T3" fmla="*/ 0 h 1421"/>
              <a:gd name="T4" fmla="*/ 710 w 1421"/>
              <a:gd name="T5" fmla="*/ 0 h 1421"/>
              <a:gd name="T6" fmla="*/ 710 w 1421"/>
              <a:gd name="T7" fmla="*/ 0 h 1421"/>
              <a:gd name="T8" fmla="*/ 1420 w 1421"/>
              <a:gd name="T9" fmla="*/ 709 h 1421"/>
              <a:gd name="T10" fmla="*/ 1420 w 1421"/>
              <a:gd name="T11" fmla="*/ 709 h 1421"/>
              <a:gd name="T12" fmla="*/ 1420 w 1421"/>
              <a:gd name="T13" fmla="*/ 709 h 1421"/>
              <a:gd name="T14" fmla="*/ 710 w 1421"/>
              <a:gd name="T15" fmla="*/ 1420 h 1421"/>
              <a:gd name="T16" fmla="*/ 710 w 1421"/>
              <a:gd name="T17" fmla="*/ 1420 h 1421"/>
              <a:gd name="T18" fmla="*/ 710 w 1421"/>
              <a:gd name="T19" fmla="*/ 1420 h 1421"/>
              <a:gd name="T20" fmla="*/ 0 w 1421"/>
              <a:gd name="T21" fmla="*/ 709 h 1421"/>
              <a:gd name="T22" fmla="*/ 0 w 1421"/>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1">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2"/>
                  <a:pt x="1102" y="1420"/>
                  <a:pt x="710" y="1420"/>
                </a:cubicBezTo>
                <a:lnTo>
                  <a:pt x="710" y="1420"/>
                </a:lnTo>
                <a:lnTo>
                  <a:pt x="710"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5" name="Freeform 10">
            <a:extLst>
              <a:ext uri="{FF2B5EF4-FFF2-40B4-BE49-F238E27FC236}">
                <a16:creationId xmlns:a16="http://schemas.microsoft.com/office/drawing/2014/main" xmlns="" id="{99837C0B-0C0A-482F-80D7-3D9036F343BF}"/>
              </a:ext>
            </a:extLst>
          </p:cNvPr>
          <p:cNvSpPr>
            <a:spLocks noChangeArrowheads="1"/>
          </p:cNvSpPr>
          <p:nvPr/>
        </p:nvSpPr>
        <p:spPr bwMode="auto">
          <a:xfrm>
            <a:off x="5473660" y="3718980"/>
            <a:ext cx="269182" cy="269182"/>
          </a:xfrm>
          <a:custGeom>
            <a:avLst/>
            <a:gdLst>
              <a:gd name="T0" fmla="*/ 0 w 1422"/>
              <a:gd name="T1" fmla="*/ 711 h 1421"/>
              <a:gd name="T2" fmla="*/ 710 w 1422"/>
              <a:gd name="T3" fmla="*/ 0 h 1421"/>
              <a:gd name="T4" fmla="*/ 710 w 1422"/>
              <a:gd name="T5" fmla="*/ 0 h 1421"/>
              <a:gd name="T6" fmla="*/ 710 w 1422"/>
              <a:gd name="T7" fmla="*/ 0 h 1421"/>
              <a:gd name="T8" fmla="*/ 1421 w 1422"/>
              <a:gd name="T9" fmla="*/ 711 h 1421"/>
              <a:gd name="T10" fmla="*/ 1421 w 1422"/>
              <a:gd name="T11" fmla="*/ 711 h 1421"/>
              <a:gd name="T12" fmla="*/ 1421 w 1422"/>
              <a:gd name="T13" fmla="*/ 711 h 1421"/>
              <a:gd name="T14" fmla="*/ 710 w 1422"/>
              <a:gd name="T15" fmla="*/ 1420 h 1421"/>
              <a:gd name="T16" fmla="*/ 710 w 1422"/>
              <a:gd name="T17" fmla="*/ 1420 h 1421"/>
              <a:gd name="T18" fmla="*/ 710 w 1422"/>
              <a:gd name="T19" fmla="*/ 1420 h 1421"/>
              <a:gd name="T20" fmla="*/ 0 w 1422"/>
              <a:gd name="T21" fmla="*/ 711 h 1421"/>
              <a:gd name="T22" fmla="*/ 0 w 1422"/>
              <a:gd name="T23" fmla="*/ 71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11"/>
                </a:moveTo>
                <a:cubicBezTo>
                  <a:pt x="0" y="319"/>
                  <a:pt x="318" y="0"/>
                  <a:pt x="710" y="0"/>
                </a:cubicBezTo>
                <a:lnTo>
                  <a:pt x="710" y="0"/>
                </a:lnTo>
                <a:lnTo>
                  <a:pt x="710" y="0"/>
                </a:lnTo>
                <a:cubicBezTo>
                  <a:pt x="1103" y="0"/>
                  <a:pt x="1421" y="319"/>
                  <a:pt x="1421" y="711"/>
                </a:cubicBezTo>
                <a:lnTo>
                  <a:pt x="1421" y="711"/>
                </a:lnTo>
                <a:lnTo>
                  <a:pt x="1421" y="711"/>
                </a:lnTo>
                <a:cubicBezTo>
                  <a:pt x="1421" y="1102"/>
                  <a:pt x="1103" y="1420"/>
                  <a:pt x="710" y="1420"/>
                </a:cubicBezTo>
                <a:lnTo>
                  <a:pt x="710" y="1420"/>
                </a:lnTo>
                <a:lnTo>
                  <a:pt x="710" y="1420"/>
                </a:lnTo>
                <a:cubicBezTo>
                  <a:pt x="318" y="1420"/>
                  <a:pt x="0" y="1102"/>
                  <a:pt x="0" y="711"/>
                </a:cubicBezTo>
                <a:lnTo>
                  <a:pt x="0" y="711"/>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6" name="Freeform 11">
            <a:extLst>
              <a:ext uri="{FF2B5EF4-FFF2-40B4-BE49-F238E27FC236}">
                <a16:creationId xmlns:a16="http://schemas.microsoft.com/office/drawing/2014/main" xmlns="" id="{A537081B-F661-4F86-9E01-EE41B5934D66}"/>
              </a:ext>
            </a:extLst>
          </p:cNvPr>
          <p:cNvSpPr>
            <a:spLocks noChangeArrowheads="1"/>
          </p:cNvSpPr>
          <p:nvPr/>
        </p:nvSpPr>
        <p:spPr bwMode="auto">
          <a:xfrm>
            <a:off x="5981930" y="4938661"/>
            <a:ext cx="269182" cy="269182"/>
          </a:xfrm>
          <a:custGeom>
            <a:avLst/>
            <a:gdLst>
              <a:gd name="T0" fmla="*/ 0 w 1421"/>
              <a:gd name="T1" fmla="*/ 710 h 1422"/>
              <a:gd name="T2" fmla="*/ 710 w 1421"/>
              <a:gd name="T3" fmla="*/ 0 h 1422"/>
              <a:gd name="T4" fmla="*/ 710 w 1421"/>
              <a:gd name="T5" fmla="*/ 0 h 1422"/>
              <a:gd name="T6" fmla="*/ 710 w 1421"/>
              <a:gd name="T7" fmla="*/ 0 h 1422"/>
              <a:gd name="T8" fmla="*/ 1420 w 1421"/>
              <a:gd name="T9" fmla="*/ 710 h 1422"/>
              <a:gd name="T10" fmla="*/ 1420 w 1421"/>
              <a:gd name="T11" fmla="*/ 710 h 1422"/>
              <a:gd name="T12" fmla="*/ 1420 w 1421"/>
              <a:gd name="T13" fmla="*/ 710 h 1422"/>
              <a:gd name="T14" fmla="*/ 710 w 1421"/>
              <a:gd name="T15" fmla="*/ 1421 h 1422"/>
              <a:gd name="T16" fmla="*/ 710 w 1421"/>
              <a:gd name="T17" fmla="*/ 1421 h 1422"/>
              <a:gd name="T18" fmla="*/ 710 w 1421"/>
              <a:gd name="T19" fmla="*/ 1421 h 1422"/>
              <a:gd name="T20" fmla="*/ 0 w 1421"/>
              <a:gd name="T21" fmla="*/ 710 h 1422"/>
              <a:gd name="T22" fmla="*/ 0 w 1421"/>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2">
                <a:moveTo>
                  <a:pt x="0" y="710"/>
                </a:moveTo>
                <a:cubicBezTo>
                  <a:pt x="0" y="318"/>
                  <a:pt x="318" y="0"/>
                  <a:pt x="710" y="0"/>
                </a:cubicBezTo>
                <a:lnTo>
                  <a:pt x="710" y="0"/>
                </a:lnTo>
                <a:lnTo>
                  <a:pt x="710" y="0"/>
                </a:lnTo>
                <a:cubicBezTo>
                  <a:pt x="1102" y="0"/>
                  <a:pt x="1420" y="318"/>
                  <a:pt x="1420" y="710"/>
                </a:cubicBezTo>
                <a:lnTo>
                  <a:pt x="1420" y="710"/>
                </a:lnTo>
                <a:lnTo>
                  <a:pt x="1420" y="710"/>
                </a:lnTo>
                <a:cubicBezTo>
                  <a:pt x="1420" y="1102"/>
                  <a:pt x="1102" y="1421"/>
                  <a:pt x="710" y="1421"/>
                </a:cubicBezTo>
                <a:lnTo>
                  <a:pt x="710" y="1421"/>
                </a:lnTo>
                <a:lnTo>
                  <a:pt x="710"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7" name="Freeform 13">
            <a:extLst>
              <a:ext uri="{FF2B5EF4-FFF2-40B4-BE49-F238E27FC236}">
                <a16:creationId xmlns:a16="http://schemas.microsoft.com/office/drawing/2014/main" xmlns="" id="{77FD1867-2832-493C-AB6C-D1BC0D43F430}"/>
              </a:ext>
            </a:extLst>
          </p:cNvPr>
          <p:cNvSpPr>
            <a:spLocks noChangeArrowheads="1"/>
          </p:cNvSpPr>
          <p:nvPr/>
        </p:nvSpPr>
        <p:spPr bwMode="auto">
          <a:xfrm>
            <a:off x="8409590" y="4938661"/>
            <a:ext cx="269182" cy="269182"/>
          </a:xfrm>
          <a:custGeom>
            <a:avLst/>
            <a:gdLst>
              <a:gd name="T0" fmla="*/ 0 w 1422"/>
              <a:gd name="T1" fmla="*/ 710 h 1422"/>
              <a:gd name="T2" fmla="*/ 711 w 1422"/>
              <a:gd name="T3" fmla="*/ 0 h 1422"/>
              <a:gd name="T4" fmla="*/ 711 w 1422"/>
              <a:gd name="T5" fmla="*/ 0 h 1422"/>
              <a:gd name="T6" fmla="*/ 711 w 1422"/>
              <a:gd name="T7" fmla="*/ 0 h 1422"/>
              <a:gd name="T8" fmla="*/ 1421 w 1422"/>
              <a:gd name="T9" fmla="*/ 710 h 1422"/>
              <a:gd name="T10" fmla="*/ 1421 w 1422"/>
              <a:gd name="T11" fmla="*/ 710 h 1422"/>
              <a:gd name="T12" fmla="*/ 1421 w 1422"/>
              <a:gd name="T13" fmla="*/ 710 h 1422"/>
              <a:gd name="T14" fmla="*/ 711 w 1422"/>
              <a:gd name="T15" fmla="*/ 1421 h 1422"/>
              <a:gd name="T16" fmla="*/ 711 w 1422"/>
              <a:gd name="T17" fmla="*/ 1421 h 1422"/>
              <a:gd name="T18" fmla="*/ 711 w 1422"/>
              <a:gd name="T19" fmla="*/ 1421 h 1422"/>
              <a:gd name="T20" fmla="*/ 0 w 1422"/>
              <a:gd name="T21" fmla="*/ 710 h 1422"/>
              <a:gd name="T22" fmla="*/ 0 w 1422"/>
              <a:gd name="T23" fmla="*/ 710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2">
                <a:moveTo>
                  <a:pt x="0" y="710"/>
                </a:moveTo>
                <a:cubicBezTo>
                  <a:pt x="0" y="318"/>
                  <a:pt x="318" y="0"/>
                  <a:pt x="711" y="0"/>
                </a:cubicBezTo>
                <a:lnTo>
                  <a:pt x="711" y="0"/>
                </a:lnTo>
                <a:lnTo>
                  <a:pt x="711" y="0"/>
                </a:lnTo>
                <a:cubicBezTo>
                  <a:pt x="1103" y="0"/>
                  <a:pt x="1421" y="318"/>
                  <a:pt x="1421" y="710"/>
                </a:cubicBezTo>
                <a:lnTo>
                  <a:pt x="1421" y="710"/>
                </a:lnTo>
                <a:lnTo>
                  <a:pt x="1421" y="710"/>
                </a:lnTo>
                <a:cubicBezTo>
                  <a:pt x="1421" y="1102"/>
                  <a:pt x="1103" y="1421"/>
                  <a:pt x="711" y="1421"/>
                </a:cubicBezTo>
                <a:lnTo>
                  <a:pt x="711" y="1421"/>
                </a:lnTo>
                <a:lnTo>
                  <a:pt x="711" y="1421"/>
                </a:lnTo>
                <a:cubicBezTo>
                  <a:pt x="318" y="1421"/>
                  <a:pt x="0" y="1102"/>
                  <a:pt x="0" y="710"/>
                </a:cubicBezTo>
                <a:lnTo>
                  <a:pt x="0" y="710"/>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8" name="Freeform 14">
            <a:extLst>
              <a:ext uri="{FF2B5EF4-FFF2-40B4-BE49-F238E27FC236}">
                <a16:creationId xmlns:a16="http://schemas.microsoft.com/office/drawing/2014/main" xmlns="" id="{50DC0271-71D1-4088-B5ED-7A1AEEB75770}"/>
              </a:ext>
            </a:extLst>
          </p:cNvPr>
          <p:cNvSpPr>
            <a:spLocks noChangeArrowheads="1"/>
          </p:cNvSpPr>
          <p:nvPr/>
        </p:nvSpPr>
        <p:spPr bwMode="auto">
          <a:xfrm>
            <a:off x="8912844" y="3724831"/>
            <a:ext cx="269182" cy="269182"/>
          </a:xfrm>
          <a:custGeom>
            <a:avLst/>
            <a:gdLst>
              <a:gd name="T0" fmla="*/ 0 w 1421"/>
              <a:gd name="T1" fmla="*/ 709 h 1420"/>
              <a:gd name="T2" fmla="*/ 710 w 1421"/>
              <a:gd name="T3" fmla="*/ 0 h 1420"/>
              <a:gd name="T4" fmla="*/ 710 w 1421"/>
              <a:gd name="T5" fmla="*/ 0 h 1420"/>
              <a:gd name="T6" fmla="*/ 710 w 1421"/>
              <a:gd name="T7" fmla="*/ 0 h 1420"/>
              <a:gd name="T8" fmla="*/ 1420 w 1421"/>
              <a:gd name="T9" fmla="*/ 709 h 1420"/>
              <a:gd name="T10" fmla="*/ 1420 w 1421"/>
              <a:gd name="T11" fmla="*/ 709 h 1420"/>
              <a:gd name="T12" fmla="*/ 1420 w 1421"/>
              <a:gd name="T13" fmla="*/ 709 h 1420"/>
              <a:gd name="T14" fmla="*/ 710 w 1421"/>
              <a:gd name="T15" fmla="*/ 1419 h 1420"/>
              <a:gd name="T16" fmla="*/ 710 w 1421"/>
              <a:gd name="T17" fmla="*/ 1419 h 1420"/>
              <a:gd name="T18" fmla="*/ 710 w 1421"/>
              <a:gd name="T19" fmla="*/ 1419 h 1420"/>
              <a:gd name="T20" fmla="*/ 0 w 1421"/>
              <a:gd name="T21" fmla="*/ 709 h 1420"/>
              <a:gd name="T22" fmla="*/ 0 w 1421"/>
              <a:gd name="T23" fmla="*/ 709 h 1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1" h="1420">
                <a:moveTo>
                  <a:pt x="0" y="709"/>
                </a:moveTo>
                <a:cubicBezTo>
                  <a:pt x="0" y="318"/>
                  <a:pt x="318" y="0"/>
                  <a:pt x="710" y="0"/>
                </a:cubicBezTo>
                <a:lnTo>
                  <a:pt x="710" y="0"/>
                </a:lnTo>
                <a:lnTo>
                  <a:pt x="710" y="0"/>
                </a:lnTo>
                <a:cubicBezTo>
                  <a:pt x="1102" y="0"/>
                  <a:pt x="1420" y="318"/>
                  <a:pt x="1420" y="709"/>
                </a:cubicBezTo>
                <a:lnTo>
                  <a:pt x="1420" y="709"/>
                </a:lnTo>
                <a:lnTo>
                  <a:pt x="1420" y="709"/>
                </a:lnTo>
                <a:cubicBezTo>
                  <a:pt x="1420" y="1101"/>
                  <a:pt x="1102" y="1419"/>
                  <a:pt x="710" y="1419"/>
                </a:cubicBezTo>
                <a:lnTo>
                  <a:pt x="710" y="1419"/>
                </a:lnTo>
                <a:lnTo>
                  <a:pt x="710" y="1419"/>
                </a:lnTo>
                <a:cubicBezTo>
                  <a:pt x="318" y="1419"/>
                  <a:pt x="0" y="1101"/>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19" name="Freeform 15">
            <a:extLst>
              <a:ext uri="{FF2B5EF4-FFF2-40B4-BE49-F238E27FC236}">
                <a16:creationId xmlns:a16="http://schemas.microsoft.com/office/drawing/2014/main" xmlns="" id="{7C2A37BA-6C5F-431C-99EF-10CB6B2B3E0E}"/>
              </a:ext>
            </a:extLst>
          </p:cNvPr>
          <p:cNvSpPr>
            <a:spLocks noChangeArrowheads="1"/>
          </p:cNvSpPr>
          <p:nvPr/>
        </p:nvSpPr>
        <p:spPr bwMode="auto">
          <a:xfrm>
            <a:off x="8409590" y="2511002"/>
            <a:ext cx="269182" cy="269182"/>
          </a:xfrm>
          <a:custGeom>
            <a:avLst/>
            <a:gdLst>
              <a:gd name="T0" fmla="*/ 0 w 1422"/>
              <a:gd name="T1" fmla="*/ 709 h 1421"/>
              <a:gd name="T2" fmla="*/ 711 w 1422"/>
              <a:gd name="T3" fmla="*/ 0 h 1421"/>
              <a:gd name="T4" fmla="*/ 711 w 1422"/>
              <a:gd name="T5" fmla="*/ 0 h 1421"/>
              <a:gd name="T6" fmla="*/ 711 w 1422"/>
              <a:gd name="T7" fmla="*/ 0 h 1421"/>
              <a:gd name="T8" fmla="*/ 1421 w 1422"/>
              <a:gd name="T9" fmla="*/ 709 h 1421"/>
              <a:gd name="T10" fmla="*/ 1421 w 1422"/>
              <a:gd name="T11" fmla="*/ 709 h 1421"/>
              <a:gd name="T12" fmla="*/ 1421 w 1422"/>
              <a:gd name="T13" fmla="*/ 709 h 1421"/>
              <a:gd name="T14" fmla="*/ 711 w 1422"/>
              <a:gd name="T15" fmla="*/ 1420 h 1421"/>
              <a:gd name="T16" fmla="*/ 711 w 1422"/>
              <a:gd name="T17" fmla="*/ 1420 h 1421"/>
              <a:gd name="T18" fmla="*/ 711 w 1422"/>
              <a:gd name="T19" fmla="*/ 1420 h 1421"/>
              <a:gd name="T20" fmla="*/ 0 w 1422"/>
              <a:gd name="T21" fmla="*/ 709 h 1421"/>
              <a:gd name="T22" fmla="*/ 0 w 1422"/>
              <a:gd name="T23" fmla="*/ 709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22" h="1421">
                <a:moveTo>
                  <a:pt x="0" y="709"/>
                </a:moveTo>
                <a:cubicBezTo>
                  <a:pt x="0" y="318"/>
                  <a:pt x="318" y="0"/>
                  <a:pt x="711" y="0"/>
                </a:cubicBezTo>
                <a:lnTo>
                  <a:pt x="711" y="0"/>
                </a:lnTo>
                <a:lnTo>
                  <a:pt x="711" y="0"/>
                </a:lnTo>
                <a:cubicBezTo>
                  <a:pt x="1103" y="0"/>
                  <a:pt x="1421" y="318"/>
                  <a:pt x="1421" y="709"/>
                </a:cubicBezTo>
                <a:lnTo>
                  <a:pt x="1421" y="709"/>
                </a:lnTo>
                <a:lnTo>
                  <a:pt x="1421" y="709"/>
                </a:lnTo>
                <a:cubicBezTo>
                  <a:pt x="1421" y="1102"/>
                  <a:pt x="1103" y="1420"/>
                  <a:pt x="711" y="1420"/>
                </a:cubicBezTo>
                <a:lnTo>
                  <a:pt x="711" y="1420"/>
                </a:lnTo>
                <a:lnTo>
                  <a:pt x="711" y="1420"/>
                </a:lnTo>
                <a:cubicBezTo>
                  <a:pt x="318" y="1420"/>
                  <a:pt x="0" y="1102"/>
                  <a:pt x="0" y="709"/>
                </a:cubicBezTo>
                <a:lnTo>
                  <a:pt x="0" y="709"/>
                </a:lnTo>
              </a:path>
            </a:pathLst>
          </a:custGeom>
          <a:solidFill>
            <a:schemeClr val="accent5">
              <a:lumMod val="50000"/>
            </a:schemeClr>
          </a:solidFill>
          <a:ln>
            <a:noFill/>
          </a:ln>
          <a:effectLst/>
        </p:spPr>
        <p:txBody>
          <a:bodyPr wrap="none" anchor="ctr"/>
          <a:lstStyle/>
          <a:p>
            <a:endParaRPr lang="en-GB" sz="5400" dirty="0">
              <a:latin typeface="+mj-lt"/>
            </a:endParaRPr>
          </a:p>
        </p:txBody>
      </p:sp>
      <p:sp>
        <p:nvSpPr>
          <p:cNvPr id="20" name="Freeform 23">
            <a:extLst>
              <a:ext uri="{FF2B5EF4-FFF2-40B4-BE49-F238E27FC236}">
                <a16:creationId xmlns:a16="http://schemas.microsoft.com/office/drawing/2014/main" xmlns="" id="{68A154F5-E8FE-432D-A1A4-74B76FD71934}"/>
              </a:ext>
            </a:extLst>
          </p:cNvPr>
          <p:cNvSpPr>
            <a:spLocks noChangeArrowheads="1"/>
          </p:cNvSpPr>
          <p:nvPr/>
        </p:nvSpPr>
        <p:spPr bwMode="auto">
          <a:xfrm>
            <a:off x="5853191" y="3813445"/>
            <a:ext cx="1476324" cy="1289903"/>
          </a:xfrm>
          <a:custGeom>
            <a:avLst/>
            <a:gdLst>
              <a:gd name="T0" fmla="*/ 7786 w 7787"/>
              <a:gd name="T1" fmla="*/ 279 h 6805"/>
              <a:gd name="T2" fmla="*/ 7557 w 7787"/>
              <a:gd name="T3" fmla="*/ 0 h 6805"/>
              <a:gd name="T4" fmla="*/ 2908 w 7787"/>
              <a:gd name="T5" fmla="*/ 3829 h 6805"/>
              <a:gd name="T6" fmla="*/ 2250 w 7787"/>
              <a:gd name="T7" fmla="*/ 3551 h 6805"/>
              <a:gd name="T8" fmla="*/ 0 w 7787"/>
              <a:gd name="T9" fmla="*/ 4953 h 6805"/>
              <a:gd name="T10" fmla="*/ 1459 w 7787"/>
              <a:gd name="T11" fmla="*/ 5022 h 6805"/>
              <a:gd name="T12" fmla="*/ 1441 w 7787"/>
              <a:gd name="T13" fmla="*/ 5038 h 6805"/>
              <a:gd name="T14" fmla="*/ 1441 w 7787"/>
              <a:gd name="T15" fmla="*/ 5038 h 6805"/>
              <a:gd name="T16" fmla="*/ 1414 w 7787"/>
              <a:gd name="T17" fmla="*/ 5066 h 6805"/>
              <a:gd name="T18" fmla="*/ 1414 w 7787"/>
              <a:gd name="T19" fmla="*/ 5066 h 6805"/>
              <a:gd name="T20" fmla="*/ 1410 w 7787"/>
              <a:gd name="T21" fmla="*/ 5071 h 6805"/>
              <a:gd name="T22" fmla="*/ 1410 w 7787"/>
              <a:gd name="T23" fmla="*/ 5071 h 6805"/>
              <a:gd name="T24" fmla="*/ 1393 w 7787"/>
              <a:gd name="T25" fmla="*/ 5098 h 6805"/>
              <a:gd name="T26" fmla="*/ 1393 w 7787"/>
              <a:gd name="T27" fmla="*/ 5098 h 6805"/>
              <a:gd name="T28" fmla="*/ 1392 w 7787"/>
              <a:gd name="T29" fmla="*/ 5101 h 6805"/>
              <a:gd name="T30" fmla="*/ 1392 w 7787"/>
              <a:gd name="T31" fmla="*/ 5101 h 6805"/>
              <a:gd name="T32" fmla="*/ 1380 w 7787"/>
              <a:gd name="T33" fmla="*/ 5134 h 6805"/>
              <a:gd name="T34" fmla="*/ 1380 w 7787"/>
              <a:gd name="T35" fmla="*/ 5134 h 6805"/>
              <a:gd name="T36" fmla="*/ 1380 w 7787"/>
              <a:gd name="T37" fmla="*/ 5134 h 6805"/>
              <a:gd name="T38" fmla="*/ 1380 w 7787"/>
              <a:gd name="T39" fmla="*/ 5134 h 6805"/>
              <a:gd name="T40" fmla="*/ 1375 w 7787"/>
              <a:gd name="T41" fmla="*/ 5172 h 6805"/>
              <a:gd name="T42" fmla="*/ 1375 w 7787"/>
              <a:gd name="T43" fmla="*/ 5172 h 6805"/>
              <a:gd name="T44" fmla="*/ 1375 w 7787"/>
              <a:gd name="T45" fmla="*/ 5172 h 6805"/>
              <a:gd name="T46" fmla="*/ 1415 w 7787"/>
              <a:gd name="T47" fmla="*/ 5292 h 6805"/>
              <a:gd name="T48" fmla="*/ 1415 w 7787"/>
              <a:gd name="T49" fmla="*/ 5292 h 6805"/>
              <a:gd name="T50" fmla="*/ 1554 w 7787"/>
              <a:gd name="T51" fmla="*/ 5357 h 6805"/>
              <a:gd name="T52" fmla="*/ 1322 w 7787"/>
              <a:gd name="T53" fmla="*/ 6804 h 6805"/>
              <a:gd name="T54" fmla="*/ 3143 w 7787"/>
              <a:gd name="T55" fmla="*/ 4878 h 6805"/>
              <a:gd name="T56" fmla="*/ 3009 w 7787"/>
              <a:gd name="T57" fmla="*/ 4215 h 6805"/>
              <a:gd name="T58" fmla="*/ 7786 w 7787"/>
              <a:gd name="T59" fmla="*/ 279 h 6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787" h="6805">
                <a:moveTo>
                  <a:pt x="7786" y="279"/>
                </a:moveTo>
                <a:lnTo>
                  <a:pt x="7557" y="0"/>
                </a:lnTo>
                <a:lnTo>
                  <a:pt x="2908" y="3829"/>
                </a:lnTo>
                <a:lnTo>
                  <a:pt x="2250" y="3551"/>
                </a:lnTo>
                <a:lnTo>
                  <a:pt x="0" y="4953"/>
                </a:lnTo>
                <a:lnTo>
                  <a:pt x="1459" y="5022"/>
                </a:lnTo>
                <a:lnTo>
                  <a:pt x="1441" y="5038"/>
                </a:lnTo>
                <a:lnTo>
                  <a:pt x="1441" y="5038"/>
                </a:lnTo>
                <a:cubicBezTo>
                  <a:pt x="1430" y="5046"/>
                  <a:pt x="1421" y="5055"/>
                  <a:pt x="1414" y="5066"/>
                </a:cubicBezTo>
                <a:lnTo>
                  <a:pt x="1414" y="5066"/>
                </a:lnTo>
                <a:cubicBezTo>
                  <a:pt x="1412" y="5067"/>
                  <a:pt x="1411" y="5069"/>
                  <a:pt x="1410" y="5071"/>
                </a:cubicBezTo>
                <a:lnTo>
                  <a:pt x="1410" y="5071"/>
                </a:lnTo>
                <a:cubicBezTo>
                  <a:pt x="1404" y="5080"/>
                  <a:pt x="1397" y="5088"/>
                  <a:pt x="1393" y="5098"/>
                </a:cubicBezTo>
                <a:lnTo>
                  <a:pt x="1393" y="5098"/>
                </a:lnTo>
                <a:cubicBezTo>
                  <a:pt x="1393" y="5100"/>
                  <a:pt x="1392" y="5100"/>
                  <a:pt x="1392" y="5101"/>
                </a:cubicBezTo>
                <a:lnTo>
                  <a:pt x="1392" y="5101"/>
                </a:lnTo>
                <a:cubicBezTo>
                  <a:pt x="1387" y="5112"/>
                  <a:pt x="1383" y="5124"/>
                  <a:pt x="1380" y="5134"/>
                </a:cubicBezTo>
                <a:lnTo>
                  <a:pt x="1380" y="5134"/>
                </a:lnTo>
                <a:lnTo>
                  <a:pt x="1380" y="5134"/>
                </a:lnTo>
                <a:lnTo>
                  <a:pt x="1380" y="5134"/>
                </a:lnTo>
                <a:cubicBezTo>
                  <a:pt x="1377" y="5148"/>
                  <a:pt x="1375" y="5159"/>
                  <a:pt x="1375" y="5172"/>
                </a:cubicBezTo>
                <a:lnTo>
                  <a:pt x="1375" y="5172"/>
                </a:lnTo>
                <a:lnTo>
                  <a:pt x="1375" y="5172"/>
                </a:lnTo>
                <a:cubicBezTo>
                  <a:pt x="1373" y="5214"/>
                  <a:pt x="1387" y="5257"/>
                  <a:pt x="1415" y="5292"/>
                </a:cubicBezTo>
                <a:lnTo>
                  <a:pt x="1415" y="5292"/>
                </a:lnTo>
                <a:cubicBezTo>
                  <a:pt x="1451" y="5336"/>
                  <a:pt x="1502" y="5357"/>
                  <a:pt x="1554" y="5357"/>
                </a:cubicBezTo>
                <a:lnTo>
                  <a:pt x="1322" y="6804"/>
                </a:lnTo>
                <a:lnTo>
                  <a:pt x="3143" y="4878"/>
                </a:lnTo>
                <a:lnTo>
                  <a:pt x="3009" y="4215"/>
                </a:lnTo>
                <a:lnTo>
                  <a:pt x="7786" y="279"/>
                </a:lnTo>
              </a:path>
            </a:pathLst>
          </a:custGeom>
          <a:solidFill>
            <a:schemeClr val="accent6">
              <a:alpha val="60000"/>
            </a:schemeClr>
          </a:solidFill>
          <a:ln>
            <a:noFill/>
          </a:ln>
          <a:effectLst/>
        </p:spPr>
        <p:txBody>
          <a:bodyPr wrap="none" anchor="ctr"/>
          <a:lstStyle/>
          <a:p>
            <a:endParaRPr lang="en-GB" sz="5400" dirty="0">
              <a:latin typeface="+mj-lt"/>
            </a:endParaRPr>
          </a:p>
        </p:txBody>
      </p:sp>
      <p:sp>
        <p:nvSpPr>
          <p:cNvPr id="21" name="Freeform 24">
            <a:extLst>
              <a:ext uri="{FF2B5EF4-FFF2-40B4-BE49-F238E27FC236}">
                <a16:creationId xmlns:a16="http://schemas.microsoft.com/office/drawing/2014/main" xmlns="" id="{A2552EE8-9B9E-4878-9C63-E0BDB9102157}"/>
              </a:ext>
            </a:extLst>
          </p:cNvPr>
          <p:cNvSpPr>
            <a:spLocks noChangeArrowheads="1"/>
          </p:cNvSpPr>
          <p:nvPr/>
        </p:nvSpPr>
        <p:spPr bwMode="auto">
          <a:xfrm>
            <a:off x="6123210" y="2859601"/>
            <a:ext cx="1225533" cy="1019884"/>
          </a:xfrm>
          <a:custGeom>
            <a:avLst/>
            <a:gdLst>
              <a:gd name="T0" fmla="*/ 6432 w 6463"/>
              <a:gd name="T1" fmla="*/ 5101 h 5380"/>
              <a:gd name="T2" fmla="*/ 318 w 6463"/>
              <a:gd name="T3" fmla="*/ 62 h 5380"/>
              <a:gd name="T4" fmla="*/ 318 w 6463"/>
              <a:gd name="T5" fmla="*/ 62 h 5380"/>
              <a:gd name="T6" fmla="*/ 63 w 6463"/>
              <a:gd name="T7" fmla="*/ 88 h 5380"/>
              <a:gd name="T8" fmla="*/ 63 w 6463"/>
              <a:gd name="T9" fmla="*/ 88 h 5380"/>
              <a:gd name="T10" fmla="*/ 89 w 6463"/>
              <a:gd name="T11" fmla="*/ 342 h 5380"/>
              <a:gd name="T12" fmla="*/ 6205 w 6463"/>
              <a:gd name="T13" fmla="*/ 5379 h 5380"/>
              <a:gd name="T14" fmla="*/ 6205 w 6463"/>
              <a:gd name="T15" fmla="*/ 5379 h 5380"/>
              <a:gd name="T16" fmla="*/ 6384 w 6463"/>
              <a:gd name="T17" fmla="*/ 5280 h 5380"/>
              <a:gd name="T18" fmla="*/ 6384 w 6463"/>
              <a:gd name="T19" fmla="*/ 5280 h 5380"/>
              <a:gd name="T20" fmla="*/ 6432 w 6463"/>
              <a:gd name="T21" fmla="*/ 5101 h 5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63" h="5380">
                <a:moveTo>
                  <a:pt x="6432" y="5101"/>
                </a:moveTo>
                <a:lnTo>
                  <a:pt x="318" y="62"/>
                </a:lnTo>
                <a:lnTo>
                  <a:pt x="318" y="62"/>
                </a:lnTo>
                <a:cubicBezTo>
                  <a:pt x="240" y="0"/>
                  <a:pt x="126" y="10"/>
                  <a:pt x="63" y="88"/>
                </a:cubicBezTo>
                <a:lnTo>
                  <a:pt x="63" y="88"/>
                </a:lnTo>
                <a:cubicBezTo>
                  <a:pt x="0" y="165"/>
                  <a:pt x="11" y="279"/>
                  <a:pt x="89" y="342"/>
                </a:cubicBezTo>
                <a:lnTo>
                  <a:pt x="6205" y="5379"/>
                </a:lnTo>
                <a:lnTo>
                  <a:pt x="6205" y="5379"/>
                </a:lnTo>
                <a:cubicBezTo>
                  <a:pt x="6205" y="5379"/>
                  <a:pt x="6306" y="5376"/>
                  <a:pt x="6384" y="5280"/>
                </a:cubicBezTo>
                <a:lnTo>
                  <a:pt x="6384" y="5280"/>
                </a:lnTo>
                <a:cubicBezTo>
                  <a:pt x="6462" y="5184"/>
                  <a:pt x="6432" y="5101"/>
                  <a:pt x="6432" y="5101"/>
                </a:cubicBezTo>
              </a:path>
            </a:pathLst>
          </a:custGeom>
          <a:solidFill>
            <a:srgbClr val="A67C5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5400" dirty="0">
              <a:latin typeface="+mj-lt"/>
            </a:endParaRPr>
          </a:p>
        </p:txBody>
      </p:sp>
      <p:sp>
        <p:nvSpPr>
          <p:cNvPr id="22" name="Freeform 19">
            <a:extLst>
              <a:ext uri="{FF2B5EF4-FFF2-40B4-BE49-F238E27FC236}">
                <a16:creationId xmlns:a16="http://schemas.microsoft.com/office/drawing/2014/main" xmlns="" id="{256BA2B1-C5FC-452D-863E-CB6D8110E81A}"/>
              </a:ext>
            </a:extLst>
          </p:cNvPr>
          <p:cNvSpPr>
            <a:spLocks noChangeArrowheads="1"/>
          </p:cNvSpPr>
          <p:nvPr/>
        </p:nvSpPr>
        <p:spPr bwMode="auto">
          <a:xfrm>
            <a:off x="5867403" y="2603789"/>
            <a:ext cx="622609" cy="602550"/>
          </a:xfrm>
          <a:custGeom>
            <a:avLst/>
            <a:gdLst>
              <a:gd name="connsiteX0" fmla="*/ 951939 w 2145172"/>
              <a:gd name="connsiteY0" fmla="*/ 1114692 h 2076060"/>
              <a:gd name="connsiteX1" fmla="*/ 1903226 w 2145172"/>
              <a:gd name="connsiteY1" fmla="*/ 1891885 h 2076060"/>
              <a:gd name="connsiteX2" fmla="*/ 1467737 w 2145172"/>
              <a:gd name="connsiteY2" fmla="*/ 2076060 h 2076060"/>
              <a:gd name="connsiteX3" fmla="*/ 0 w 2145172"/>
              <a:gd name="connsiteY3" fmla="*/ 1159756 h 2076060"/>
              <a:gd name="connsiteX4" fmla="*/ 956260 w 2145172"/>
              <a:gd name="connsiteY4" fmla="*/ 0 h 2076060"/>
              <a:gd name="connsiteX5" fmla="*/ 2145172 w 2145172"/>
              <a:gd name="connsiteY5" fmla="*/ 1258315 h 2076060"/>
              <a:gd name="connsiteX6" fmla="*/ 2051207 w 2145172"/>
              <a:gd name="connsiteY6" fmla="*/ 1721768 h 2076060"/>
              <a:gd name="connsiteX7" fmla="*/ 1101122 w 2145172"/>
              <a:gd name="connsiteY7" fmla="*/ 943246 h 2076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5172" h="2076060">
                <a:moveTo>
                  <a:pt x="951939" y="1114692"/>
                </a:moveTo>
                <a:lnTo>
                  <a:pt x="1903226" y="1891885"/>
                </a:lnTo>
                <a:lnTo>
                  <a:pt x="1467737" y="2076060"/>
                </a:lnTo>
                <a:lnTo>
                  <a:pt x="0" y="1159756"/>
                </a:lnTo>
                <a:close/>
                <a:moveTo>
                  <a:pt x="956260" y="0"/>
                </a:moveTo>
                <a:lnTo>
                  <a:pt x="2145172" y="1258315"/>
                </a:lnTo>
                <a:lnTo>
                  <a:pt x="2051207" y="1721768"/>
                </a:lnTo>
                <a:lnTo>
                  <a:pt x="1101122" y="943246"/>
                </a:lnTo>
                <a:close/>
              </a:path>
            </a:pathLst>
          </a:custGeom>
          <a:solidFill>
            <a:schemeClr val="accent5">
              <a:lumMod val="60000"/>
              <a:lumOff val="40000"/>
            </a:schemeClr>
          </a:solidFill>
          <a:ln>
            <a:noFill/>
          </a:ln>
          <a:effectLst/>
        </p:spPr>
        <p:txBody>
          <a:bodyPr wrap="square" anchor="ctr">
            <a:noAutofit/>
          </a:bodyPr>
          <a:lstStyle/>
          <a:p>
            <a:endParaRPr lang="en-GB" sz="5400" dirty="0">
              <a:latin typeface="+mj-lt"/>
            </a:endParaRPr>
          </a:p>
        </p:txBody>
      </p:sp>
      <p:sp>
        <p:nvSpPr>
          <p:cNvPr id="28" name="Subtitle 2">
            <a:extLst>
              <a:ext uri="{FF2B5EF4-FFF2-40B4-BE49-F238E27FC236}">
                <a16:creationId xmlns:a16="http://schemas.microsoft.com/office/drawing/2014/main" xmlns="" id="{0DE3AD2B-9117-4DBA-9198-3C73FFF53E49}"/>
              </a:ext>
            </a:extLst>
          </p:cNvPr>
          <p:cNvSpPr txBox="1">
            <a:spLocks/>
          </p:cNvSpPr>
          <p:nvPr/>
        </p:nvSpPr>
        <p:spPr>
          <a:xfrm>
            <a:off x="9392603" y="2120059"/>
            <a:ext cx="2309539" cy="368336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as Leitbild ist zukunftsweisend und muss daher im Laufe des </a:t>
            </a:r>
            <a:r>
              <a:rPr lang="en-GB" sz="1800" dirty="0" err="1">
                <a:solidFill>
                  <a:srgbClr val="245473"/>
                </a:solidFill>
                <a:latin typeface="+mj-lt"/>
                <a:ea typeface="Lato Light" panose="020F0502020204030203" pitchFamily="34" charset="0"/>
                <a:cs typeface="Mukta ExtraLight" panose="020B0000000000000000" pitchFamily="34" charset="77"/>
              </a:rPr>
              <a:t>Umstrukturierungs-prozesses</a:t>
            </a:r>
            <a:r>
              <a:rPr lang="en-GB" sz="1800" dirty="0">
                <a:solidFill>
                  <a:srgbClr val="245473"/>
                </a:solidFill>
                <a:latin typeface="+mj-lt"/>
                <a:ea typeface="Lato Light" panose="020F0502020204030203" pitchFamily="34" charset="0"/>
                <a:cs typeface="Mukta ExtraLight" panose="020B0000000000000000" pitchFamily="34" charset="77"/>
              </a:rPr>
              <a:t> auf Basis der gewonnenen Erkenntnisse auf inhaltliche Konsistenz geprüft und mit den Stakeholdern weiterentwickelt werden</a:t>
            </a:r>
            <a:endParaRPr lang="en-US" sz="2800" dirty="0">
              <a:solidFill>
                <a:srgbClr val="245473"/>
              </a:solidFill>
            </a:endParaRPr>
          </a:p>
        </p:txBody>
      </p:sp>
      <p:sp>
        <p:nvSpPr>
          <p:cNvPr id="30" name="Subtitle 2">
            <a:extLst>
              <a:ext uri="{FF2B5EF4-FFF2-40B4-BE49-F238E27FC236}">
                <a16:creationId xmlns:a16="http://schemas.microsoft.com/office/drawing/2014/main" xmlns="" id="{2C82B87E-962C-4EE5-93AA-C26A29CCA8E9}"/>
              </a:ext>
            </a:extLst>
          </p:cNvPr>
          <p:cNvSpPr txBox="1">
            <a:spLocks/>
          </p:cNvSpPr>
          <p:nvPr/>
        </p:nvSpPr>
        <p:spPr>
          <a:xfrm>
            <a:off x="3372716" y="4934075"/>
            <a:ext cx="2090722" cy="146737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as Leitbild beinhaltet somit auch ein realisierbares, nachhaltiges Geschäftsmodell</a:t>
            </a:r>
            <a:endParaRPr lang="en-US" sz="2800" dirty="0">
              <a:solidFill>
                <a:srgbClr val="245473"/>
              </a:solidFill>
            </a:endParaRPr>
          </a:p>
        </p:txBody>
      </p:sp>
      <p:sp>
        <p:nvSpPr>
          <p:cNvPr id="33" name="Subtitle 2">
            <a:extLst>
              <a:ext uri="{FF2B5EF4-FFF2-40B4-BE49-F238E27FC236}">
                <a16:creationId xmlns:a16="http://schemas.microsoft.com/office/drawing/2014/main" xmlns="" id="{4E47BE71-C20B-4078-BE15-0711F414BD88}"/>
              </a:ext>
            </a:extLst>
          </p:cNvPr>
          <p:cNvSpPr txBox="1">
            <a:spLocks/>
          </p:cNvSpPr>
          <p:nvPr/>
        </p:nvSpPr>
        <p:spPr>
          <a:xfrm>
            <a:off x="2956856" y="1754652"/>
            <a:ext cx="2502032" cy="285236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as Leitbild dient dazu, die </a:t>
            </a:r>
            <a:r>
              <a:rPr lang="en-GB" sz="1800" dirty="0" err="1">
                <a:solidFill>
                  <a:srgbClr val="245473"/>
                </a:solidFill>
                <a:latin typeface="+mj-lt"/>
                <a:ea typeface="Lato Light" panose="020F0502020204030203" pitchFamily="34" charset="0"/>
                <a:cs typeface="Mukta ExtraLight" panose="020B0000000000000000" pitchFamily="34" charset="77"/>
              </a:rPr>
              <a:t>notwendig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Restrukturierungs-maßnahm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zu</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identifizieren</a:t>
            </a:r>
            <a:r>
              <a:rPr lang="en-GB" sz="1800" dirty="0">
                <a:solidFill>
                  <a:srgbClr val="245473"/>
                </a:solidFill>
                <a:latin typeface="+mj-lt"/>
                <a:ea typeface="Lato Light" panose="020F0502020204030203" pitchFamily="34" charset="0"/>
                <a:cs typeface="Mukta ExtraLight" panose="020B0000000000000000" pitchFamily="34" charset="77"/>
              </a:rPr>
              <a:t>, um das Unternehmen mit seinem Leistungsangebot erfolgreich im Wettbewerb </a:t>
            </a:r>
            <a:r>
              <a:rPr lang="en-GB" sz="1800" dirty="0" err="1">
                <a:solidFill>
                  <a:srgbClr val="245473"/>
                </a:solidFill>
                <a:latin typeface="+mj-lt"/>
                <a:ea typeface="Lato Light" panose="020F0502020204030203" pitchFamily="34" charset="0"/>
                <a:cs typeface="Mukta ExtraLight" panose="020B0000000000000000" pitchFamily="34" charset="77"/>
              </a:rPr>
              <a:t>zu</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positionieren</a:t>
            </a:r>
            <a:r>
              <a:rPr lang="en-GB" sz="1800" dirty="0">
                <a:solidFill>
                  <a:srgbClr val="245473"/>
                </a:solidFill>
                <a:latin typeface="+mj-lt"/>
                <a:ea typeface="Lato Light" panose="020F0502020204030203" pitchFamily="34" charset="0"/>
                <a:cs typeface="Mukta ExtraLight" panose="020B0000000000000000" pitchFamily="34" charset="77"/>
              </a:rPr>
              <a:t>.</a:t>
            </a:r>
            <a:endParaRPr lang="en-US" sz="2800" dirty="0">
              <a:solidFill>
                <a:srgbClr val="245473"/>
              </a:solidFill>
            </a:endParaRPr>
          </a:p>
        </p:txBody>
      </p:sp>
    </p:spTree>
    <p:extLst>
      <p:ext uri="{BB962C8B-B14F-4D97-AF65-F5344CB8AC3E}">
        <p14:creationId xmlns:p14="http://schemas.microsoft.com/office/powerpoint/2010/main" val="1086466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xmlns="" id="{BCA1FBE3-F056-44AB-82A7-5E880912E2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10" name="Objekt 9" hidden="1">
                        <a:extLst>
                          <a:ext uri="{FF2B5EF4-FFF2-40B4-BE49-F238E27FC236}">
                            <a16:creationId xmlns:a16="http://schemas.microsoft.com/office/drawing/2014/main" xmlns="" id="{BCA1FBE3-F056-44AB-82A7-5E880912E2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1065" y="458708"/>
            <a:ext cx="9474753" cy="697353"/>
          </a:xfrm>
        </p:spPr>
        <p:txBody>
          <a:bodyPr>
            <a:noAutofit/>
          </a:bodyPr>
          <a:lstStyle/>
          <a:p>
            <a:r>
              <a:rPr lang="en-GB" sz="3200" dirty="0"/>
              <a:t>Inhalt von Restrukturierungskonzepten: </a:t>
            </a:r>
            <a:r>
              <a:rPr lang="en-GB" sz="3200" dirty="0" err="1"/>
              <a:t>Integrierte</a:t>
            </a:r>
            <a:r>
              <a:rPr lang="en-GB" sz="3200" dirty="0"/>
              <a:t> </a:t>
            </a:r>
            <a:r>
              <a:rPr lang="en-GB" sz="3200" dirty="0" err="1"/>
              <a:t>Unternehmensplanung</a:t>
            </a:r>
            <a:r>
              <a:rPr lang="en-GB" sz="3200" dirty="0"/>
              <a:t> (</a:t>
            </a:r>
            <a:r>
              <a:rPr lang="en-GB" sz="3200" dirty="0" err="1"/>
              <a:t>siehe</a:t>
            </a:r>
            <a:r>
              <a:rPr lang="en-GB" sz="3200" dirty="0"/>
              <a:t> </a:t>
            </a:r>
            <a:r>
              <a:rPr lang="en-GB" sz="3200" dirty="0" err="1"/>
              <a:t>auch</a:t>
            </a:r>
            <a:r>
              <a:rPr lang="en-GB" sz="3200" dirty="0"/>
              <a:t> </a:t>
            </a:r>
            <a:r>
              <a:rPr lang="en-GB" sz="3200" dirty="0" err="1"/>
              <a:t>Zusatzressourcen</a:t>
            </a:r>
            <a:r>
              <a:rPr lang="en-GB" sz="3200" dirty="0"/>
              <a:t>)</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2706" y="1907713"/>
            <a:ext cx="3535930" cy="531457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Eine professionelle Unternehmensplanung ist ein wesentlicher Erfolgsfaktor. Sie macht transparent, wie sich das Unternehmen entwickeln soll und liefert die Grundlage </a:t>
            </a:r>
            <a:r>
              <a:rPr lang="en-US" sz="2200" dirty="0" err="1">
                <a:solidFill>
                  <a:srgbClr val="245473"/>
                </a:solidFill>
                <a:latin typeface="+mj-lt"/>
                <a:ea typeface="Open Sans Light" panose="020B0306030504020204" pitchFamily="34" charset="0"/>
                <a:cs typeface="Open Sans Light" panose="020B0306030504020204" pitchFamily="34" charset="0"/>
              </a:rPr>
              <a:t>für</a:t>
            </a:r>
            <a:r>
              <a:rPr lang="en-US" sz="2200" dirty="0">
                <a:solidFill>
                  <a:srgbClr val="245473"/>
                </a:solidFill>
                <a:latin typeface="+mj-lt"/>
                <a:ea typeface="Open Sans Light" panose="020B0306030504020204" pitchFamily="34" charset="0"/>
                <a:cs typeface="Open Sans Light" panose="020B0306030504020204" pitchFamily="34" charset="0"/>
              </a:rPr>
              <a:t> </a:t>
            </a:r>
            <a:r>
              <a:rPr lang="en-US" sz="2200" dirty="0" err="1">
                <a:solidFill>
                  <a:srgbClr val="245473"/>
                </a:solidFill>
                <a:latin typeface="+mj-lt"/>
                <a:ea typeface="Open Sans Light" panose="020B0306030504020204" pitchFamily="34" charset="0"/>
                <a:cs typeface="Open Sans Light" panose="020B0306030504020204" pitchFamily="34" charset="0"/>
              </a:rPr>
              <a:t>nachhaltige</a:t>
            </a:r>
            <a:r>
              <a:rPr lang="en-US" sz="2200" dirty="0">
                <a:solidFill>
                  <a:srgbClr val="245473"/>
                </a:solidFill>
                <a:latin typeface="+mj-lt"/>
                <a:ea typeface="Open Sans Light" panose="020B0306030504020204" pitchFamily="34" charset="0"/>
                <a:cs typeface="Open Sans Light" panose="020B0306030504020204" pitchFamily="34" charset="0"/>
              </a:rPr>
              <a:t> </a:t>
            </a:r>
            <a:r>
              <a:rPr lang="en-US" sz="2200" dirty="0" err="1">
                <a:solidFill>
                  <a:srgbClr val="245473"/>
                </a:solidFill>
                <a:latin typeface="+mj-lt"/>
                <a:ea typeface="Open Sans Light" panose="020B0306030504020204" pitchFamily="34" charset="0"/>
                <a:cs typeface="Open Sans Light" panose="020B0306030504020204" pitchFamily="34" charset="0"/>
              </a:rPr>
              <a:t>Entscheidungen</a:t>
            </a:r>
            <a:r>
              <a:rPr lang="en-US" sz="2200" dirty="0">
                <a:solidFill>
                  <a:srgbClr val="245473"/>
                </a:solidFill>
                <a:latin typeface="+mj-lt"/>
                <a:ea typeface="Open Sans Light" panose="020B0306030504020204" pitchFamily="34" charset="0"/>
                <a:cs typeface="Open Sans Light" panose="020B0306030504020204" pitchFamily="34" charset="0"/>
              </a:rPr>
              <a:t> von Eigentümern, Gesellschaftern und Kapitalgebern. </a:t>
            </a:r>
            <a:endParaRPr lang="en-US" dirty="0">
              <a:solidFill>
                <a:srgbClr val="245473"/>
              </a:solidFill>
            </a:endParaRPr>
          </a:p>
          <a:p>
            <a:pPr algn="l">
              <a:lnSpc>
                <a:spcPct val="100000"/>
              </a:lnSpc>
              <a:spcBef>
                <a:spcPts val="600"/>
              </a:spcBef>
            </a:pPr>
            <a:r>
              <a:rPr lang="en-US" sz="2200" dirty="0">
                <a:solidFill>
                  <a:srgbClr val="245473"/>
                </a:solidFill>
                <a:latin typeface="+mj-lt"/>
                <a:ea typeface="Open Sans Light" panose="020B0306030504020204" pitchFamily="34" charset="0"/>
                <a:cs typeface="Open Sans Light" panose="020B0306030504020204" pitchFamily="34" charset="0"/>
              </a:rPr>
              <a:t>Wichtig: Eine professionelle Planung ermöglicht es, zu erkennen, wo </a:t>
            </a:r>
            <a:r>
              <a:rPr lang="en-US" sz="2200" dirty="0" err="1">
                <a:solidFill>
                  <a:srgbClr val="245473"/>
                </a:solidFill>
                <a:latin typeface="+mj-lt"/>
                <a:ea typeface="Open Sans Light" panose="020B0306030504020204" pitchFamily="34" charset="0"/>
                <a:cs typeface="Open Sans Light" panose="020B0306030504020204" pitchFamily="34" charset="0"/>
              </a:rPr>
              <a:t>Veränderungs-bedarf</a:t>
            </a:r>
            <a:r>
              <a:rPr lang="en-US" sz="2200" dirty="0">
                <a:solidFill>
                  <a:srgbClr val="245473"/>
                </a:solidFill>
                <a:latin typeface="+mj-lt"/>
                <a:ea typeface="Open Sans Light" panose="020B0306030504020204" pitchFamily="34" charset="0"/>
                <a:cs typeface="Open Sans Light" panose="020B0306030504020204" pitchFamily="34" charset="0"/>
              </a:rPr>
              <a:t> besteht. </a:t>
            </a:r>
          </a:p>
          <a:p>
            <a:pPr algn="l">
              <a:lnSpc>
                <a:spcPct val="100000"/>
              </a:lnSpc>
              <a:spcBef>
                <a:spcPts val="600"/>
              </a:spcBef>
            </a:pPr>
            <a:endParaRPr lang="en-US" sz="2200" dirty="0">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63C8703E-5EEA-4919-A837-F8C6CDD45AAD}"/>
              </a:ext>
            </a:extLst>
          </p:cNvPr>
          <p:cNvGrpSpPr/>
          <p:nvPr/>
        </p:nvGrpSpPr>
        <p:grpSpPr>
          <a:xfrm>
            <a:off x="5643856" y="2417228"/>
            <a:ext cx="3958829" cy="3455788"/>
            <a:chOff x="4094186" y="2417228"/>
            <a:chExt cx="3958829" cy="3455788"/>
          </a:xfrm>
        </p:grpSpPr>
        <p:sp>
          <p:nvSpPr>
            <p:cNvPr id="56" name="Фигура">
              <a:extLst>
                <a:ext uri="{FF2B5EF4-FFF2-40B4-BE49-F238E27FC236}">
                  <a16:creationId xmlns:a16="http://schemas.microsoft.com/office/drawing/2014/main" xmlns="" id="{7863407F-31F9-455F-9091-FB4A09BC17A3}"/>
                </a:ext>
              </a:extLst>
            </p:cNvPr>
            <p:cNvSpPr>
              <a:spLocks/>
            </p:cNvSpPr>
            <p:nvPr/>
          </p:nvSpPr>
          <p:spPr bwMode="auto">
            <a:xfrm>
              <a:off x="4151813" y="2417228"/>
              <a:ext cx="2475461" cy="3195325"/>
            </a:xfrm>
            <a:custGeom>
              <a:avLst/>
              <a:gdLst>
                <a:gd name="T0" fmla="*/ 3301058 w 21573"/>
                <a:gd name="T1" fmla="*/ 4260722 h 21596"/>
                <a:gd name="T2" fmla="*/ 3301058 w 21573"/>
                <a:gd name="T3" fmla="*/ 4260722 h 21596"/>
                <a:gd name="T4" fmla="*/ 3301058 w 21573"/>
                <a:gd name="T5" fmla="*/ 4260722 h 21596"/>
                <a:gd name="T6" fmla="*/ 3301058 w 21573"/>
                <a:gd name="T7" fmla="*/ 4260722 h 21596"/>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573" h="21596" extrusionOk="0">
                  <a:moveTo>
                    <a:pt x="16988" y="161"/>
                  </a:moveTo>
                  <a:cubicBezTo>
                    <a:pt x="17069" y="251"/>
                    <a:pt x="17141" y="345"/>
                    <a:pt x="17202" y="444"/>
                  </a:cubicBezTo>
                  <a:cubicBezTo>
                    <a:pt x="17267" y="549"/>
                    <a:pt x="17320" y="658"/>
                    <a:pt x="17374" y="766"/>
                  </a:cubicBezTo>
                  <a:cubicBezTo>
                    <a:pt x="17491" y="1004"/>
                    <a:pt x="17609" y="1242"/>
                    <a:pt x="17727" y="1480"/>
                  </a:cubicBezTo>
                  <a:cubicBezTo>
                    <a:pt x="17950" y="1923"/>
                    <a:pt x="18175" y="2366"/>
                    <a:pt x="18393" y="2810"/>
                  </a:cubicBezTo>
                  <a:cubicBezTo>
                    <a:pt x="18832" y="3701"/>
                    <a:pt x="19244" y="4598"/>
                    <a:pt x="19627" y="5502"/>
                  </a:cubicBezTo>
                  <a:cubicBezTo>
                    <a:pt x="20487" y="7531"/>
                    <a:pt x="21207" y="9607"/>
                    <a:pt x="21466" y="11747"/>
                  </a:cubicBezTo>
                  <a:cubicBezTo>
                    <a:pt x="21573" y="12629"/>
                    <a:pt x="21600" y="13517"/>
                    <a:pt x="21547" y="14403"/>
                  </a:cubicBezTo>
                  <a:cubicBezTo>
                    <a:pt x="21135" y="13190"/>
                    <a:pt x="19991" y="12208"/>
                    <a:pt x="18480" y="11768"/>
                  </a:cubicBezTo>
                  <a:cubicBezTo>
                    <a:pt x="15508" y="10900"/>
                    <a:pt x="12440" y="12228"/>
                    <a:pt x="9862" y="13780"/>
                  </a:cubicBezTo>
                  <a:cubicBezTo>
                    <a:pt x="8949" y="14330"/>
                    <a:pt x="8061" y="14902"/>
                    <a:pt x="7209" y="15505"/>
                  </a:cubicBezTo>
                  <a:cubicBezTo>
                    <a:pt x="6338" y="16122"/>
                    <a:pt x="5507" y="16771"/>
                    <a:pt x="4695" y="17433"/>
                  </a:cubicBezTo>
                  <a:cubicBezTo>
                    <a:pt x="3057" y="18767"/>
                    <a:pt x="1490" y="20156"/>
                    <a:pt x="0" y="21596"/>
                  </a:cubicBezTo>
                  <a:lnTo>
                    <a:pt x="16000" y="234"/>
                  </a:lnTo>
                  <a:cubicBezTo>
                    <a:pt x="16115" y="85"/>
                    <a:pt x="16324" y="-4"/>
                    <a:pt x="16548" y="1"/>
                  </a:cubicBezTo>
                  <a:cubicBezTo>
                    <a:pt x="16717" y="4"/>
                    <a:pt x="16876" y="62"/>
                    <a:pt x="16988" y="161"/>
                  </a:cubicBezTo>
                  <a:close/>
                </a:path>
              </a:pathLst>
            </a:custGeom>
            <a:solidFill>
              <a:schemeClr val="accent1"/>
            </a:solidFill>
            <a:ln>
              <a:noFill/>
            </a:ln>
          </p:spPr>
          <p:txBody>
            <a:bodyPr lIns="19050" tIns="19050" rIns="19050" bIns="19050" anchor="ctr"/>
            <a:lstStyle/>
            <a:p>
              <a:endParaRPr lang="en-US" sz="1600" dirty="0">
                <a:latin typeface="+mj-lt"/>
              </a:endParaRPr>
            </a:p>
          </p:txBody>
        </p:sp>
        <p:sp>
          <p:nvSpPr>
            <p:cNvPr id="64" name="Фигура">
              <a:extLst>
                <a:ext uri="{FF2B5EF4-FFF2-40B4-BE49-F238E27FC236}">
                  <a16:creationId xmlns:a16="http://schemas.microsoft.com/office/drawing/2014/main" xmlns="" id="{87E30826-A9C8-4169-AA03-4512D1660660}"/>
                </a:ext>
              </a:extLst>
            </p:cNvPr>
            <p:cNvSpPr/>
            <p:nvPr/>
          </p:nvSpPr>
          <p:spPr bwMode="auto">
            <a:xfrm>
              <a:off x="5902746" y="2647018"/>
              <a:ext cx="2150269" cy="3203972"/>
            </a:xfrm>
            <a:custGeom>
              <a:avLst/>
              <a:gdLst/>
              <a:ahLst/>
              <a:cxnLst>
                <a:cxn ang="0">
                  <a:pos x="wd2" y="hd2"/>
                </a:cxn>
                <a:cxn ang="5400000">
                  <a:pos x="wd2" y="hd2"/>
                </a:cxn>
                <a:cxn ang="10800000">
                  <a:pos x="wd2" y="hd2"/>
                </a:cxn>
                <a:cxn ang="16200000">
                  <a:pos x="wd2" y="hd2"/>
                </a:cxn>
              </a:cxnLst>
              <a:rect l="0" t="0" r="r" b="b"/>
              <a:pathLst>
                <a:path w="21558" h="21567" extrusionOk="0">
                  <a:moveTo>
                    <a:pt x="3512" y="0"/>
                  </a:moveTo>
                  <a:cubicBezTo>
                    <a:pt x="4175" y="1156"/>
                    <a:pt x="4788" y="2315"/>
                    <a:pt x="5355" y="3476"/>
                  </a:cubicBezTo>
                  <a:cubicBezTo>
                    <a:pt x="5923" y="4639"/>
                    <a:pt x="6444" y="5805"/>
                    <a:pt x="6856" y="6984"/>
                  </a:cubicBezTo>
                  <a:cubicBezTo>
                    <a:pt x="7297" y="8245"/>
                    <a:pt x="7619" y="9556"/>
                    <a:pt x="7767" y="10855"/>
                  </a:cubicBezTo>
                  <a:cubicBezTo>
                    <a:pt x="7914" y="12154"/>
                    <a:pt x="7886" y="13460"/>
                    <a:pt x="7238" y="14730"/>
                  </a:cubicBezTo>
                  <a:cubicBezTo>
                    <a:pt x="6912" y="15368"/>
                    <a:pt x="6429" y="15966"/>
                    <a:pt x="5737" y="16449"/>
                  </a:cubicBezTo>
                  <a:cubicBezTo>
                    <a:pt x="4261" y="17477"/>
                    <a:pt x="2052" y="17874"/>
                    <a:pt x="0" y="17469"/>
                  </a:cubicBezTo>
                  <a:cubicBezTo>
                    <a:pt x="736" y="17795"/>
                    <a:pt x="1499" y="18092"/>
                    <a:pt x="2286" y="18360"/>
                  </a:cubicBezTo>
                  <a:cubicBezTo>
                    <a:pt x="3025" y="18611"/>
                    <a:pt x="3785" y="18836"/>
                    <a:pt x="4555" y="19043"/>
                  </a:cubicBezTo>
                  <a:cubicBezTo>
                    <a:pt x="7143" y="19737"/>
                    <a:pt x="9835" y="20226"/>
                    <a:pt x="12548" y="20628"/>
                  </a:cubicBezTo>
                  <a:cubicBezTo>
                    <a:pt x="15191" y="21019"/>
                    <a:pt x="17864" y="21329"/>
                    <a:pt x="20558" y="21557"/>
                  </a:cubicBezTo>
                  <a:cubicBezTo>
                    <a:pt x="20900" y="21600"/>
                    <a:pt x="21247" y="21498"/>
                    <a:pt x="21431" y="21299"/>
                  </a:cubicBezTo>
                  <a:cubicBezTo>
                    <a:pt x="21587" y="21132"/>
                    <a:pt x="21600" y="20921"/>
                    <a:pt x="21465" y="20746"/>
                  </a:cubicBezTo>
                  <a:lnTo>
                    <a:pt x="3512" y="0"/>
                  </a:lnTo>
                  <a:close/>
                </a:path>
              </a:pathLst>
            </a:custGeom>
            <a:solidFill>
              <a:schemeClr val="accent2"/>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5" name="Фигура">
              <a:extLst>
                <a:ext uri="{FF2B5EF4-FFF2-40B4-BE49-F238E27FC236}">
                  <a16:creationId xmlns:a16="http://schemas.microsoft.com/office/drawing/2014/main" xmlns="" id="{7E73F8D5-5393-4B89-A5F3-727B18226DD1}"/>
                </a:ext>
              </a:extLst>
            </p:cNvPr>
            <p:cNvSpPr/>
            <p:nvPr/>
          </p:nvSpPr>
          <p:spPr bwMode="auto">
            <a:xfrm>
              <a:off x="4094186" y="4273412"/>
              <a:ext cx="3652242" cy="1599604"/>
            </a:xfrm>
            <a:custGeom>
              <a:avLst/>
              <a:gdLst/>
              <a:ahLst/>
              <a:cxnLst>
                <a:cxn ang="0">
                  <a:pos x="wd2" y="hd2"/>
                </a:cxn>
                <a:cxn ang="5400000">
                  <a:pos x="wd2" y="hd2"/>
                </a:cxn>
                <a:cxn ang="10800000">
                  <a:pos x="wd2" y="hd2"/>
                </a:cxn>
                <a:cxn ang="16200000">
                  <a:pos x="wd2" y="hd2"/>
                </a:cxn>
              </a:cxnLst>
              <a:rect l="0" t="0" r="r" b="b"/>
              <a:pathLst>
                <a:path w="21575" h="21600" extrusionOk="0">
                  <a:moveTo>
                    <a:pt x="9295" y="0"/>
                  </a:moveTo>
                  <a:cubicBezTo>
                    <a:pt x="8433" y="1842"/>
                    <a:pt x="8085" y="4539"/>
                    <a:pt x="8321" y="7079"/>
                  </a:cubicBezTo>
                  <a:cubicBezTo>
                    <a:pt x="8604" y="10122"/>
                    <a:pt x="9656" y="12421"/>
                    <a:pt x="10863" y="14178"/>
                  </a:cubicBezTo>
                  <a:cubicBezTo>
                    <a:pt x="11665" y="15344"/>
                    <a:pt x="12514" y="16273"/>
                    <a:pt x="13379" y="17055"/>
                  </a:cubicBezTo>
                  <a:cubicBezTo>
                    <a:pt x="14701" y="18250"/>
                    <a:pt x="16077" y="19120"/>
                    <a:pt x="17471" y="19853"/>
                  </a:cubicBezTo>
                  <a:cubicBezTo>
                    <a:pt x="18819" y="20562"/>
                    <a:pt x="20187" y="21146"/>
                    <a:pt x="21575" y="21600"/>
                  </a:cubicBezTo>
                  <a:lnTo>
                    <a:pt x="372" y="21590"/>
                  </a:lnTo>
                  <a:cubicBezTo>
                    <a:pt x="215" y="21557"/>
                    <a:pt x="80" y="21320"/>
                    <a:pt x="25" y="20981"/>
                  </a:cubicBezTo>
                  <a:cubicBezTo>
                    <a:pt x="-25" y="20669"/>
                    <a:pt x="1" y="20319"/>
                    <a:pt x="94" y="20064"/>
                  </a:cubicBezTo>
                  <a:cubicBezTo>
                    <a:pt x="851" y="17813"/>
                    <a:pt x="1636" y="15613"/>
                    <a:pt x="2448" y="13466"/>
                  </a:cubicBezTo>
                  <a:cubicBezTo>
                    <a:pt x="3470" y="10769"/>
                    <a:pt x="4534" y="8159"/>
                    <a:pt x="5694" y="5782"/>
                  </a:cubicBezTo>
                  <a:cubicBezTo>
                    <a:pt x="6253" y="4638"/>
                    <a:pt x="6833" y="3549"/>
                    <a:pt x="7446" y="2560"/>
                  </a:cubicBezTo>
                  <a:cubicBezTo>
                    <a:pt x="8035" y="1611"/>
                    <a:pt x="8652" y="755"/>
                    <a:pt x="9295" y="0"/>
                  </a:cubicBezTo>
                  <a:close/>
                </a:path>
              </a:pathLst>
            </a:custGeom>
            <a:solidFill>
              <a:schemeClr val="accent3"/>
            </a:solidFill>
            <a:ln w="12700" cap="flat">
              <a:noFill/>
              <a:miter lim="400000"/>
            </a:ln>
            <a:effectLst/>
          </p:spPr>
          <p:txBody>
            <a:bodyPr lIns="19050" tIns="19050" rIns="19050" bIns="19050" anchor="ctr"/>
            <a:lstStyle/>
            <a:p>
              <a:pPr algn="ctr">
                <a:defRPr sz="3200">
                  <a:solidFill>
                    <a:srgbClr val="000000"/>
                  </a:solidFill>
                  <a:latin typeface="Helvetica Light"/>
                  <a:ea typeface="Helvetica Light"/>
                  <a:cs typeface="Helvetica Light"/>
                  <a:sym typeface="Helvetica Light"/>
                </a:defRPr>
              </a:pPr>
              <a:endParaRPr sz="1600" kern="0" dirty="0">
                <a:solidFill>
                  <a:srgbClr val="000000"/>
                </a:solidFill>
                <a:latin typeface="+mj-lt"/>
                <a:ea typeface="Lato Light" panose="020F0502020204030203" pitchFamily="34" charset="0"/>
                <a:cs typeface="Lato Light" panose="020F0502020204030203" pitchFamily="34" charset="0"/>
                <a:sym typeface="Helvetica Light"/>
              </a:endParaRPr>
            </a:p>
          </p:txBody>
        </p:sp>
        <p:sp>
          <p:nvSpPr>
            <p:cNvPr id="67" name="TextBox 25">
              <a:extLst>
                <a:ext uri="{FF2B5EF4-FFF2-40B4-BE49-F238E27FC236}">
                  <a16:creationId xmlns:a16="http://schemas.microsoft.com/office/drawing/2014/main" xmlns="" id="{53AF438A-65E6-462F-82C0-A02F5CC4B3AF}"/>
                </a:ext>
              </a:extLst>
            </p:cNvPr>
            <p:cNvSpPr txBox="1"/>
            <p:nvPr/>
          </p:nvSpPr>
          <p:spPr>
            <a:xfrm>
              <a:off x="6608074" y="4925124"/>
              <a:ext cx="1123834" cy="584775"/>
            </a:xfrm>
            <a:prstGeom prst="rect">
              <a:avLst/>
            </a:prstGeom>
            <a:noFill/>
          </p:spPr>
          <p:txBody>
            <a:bodyPr wrap="none" rtlCol="0" anchor="ctr" anchorCtr="0">
              <a:spAutoFit/>
            </a:bodyPr>
            <a:lstStyle/>
            <a:p>
              <a:pPr algn="ctr"/>
              <a:r>
                <a:rPr lang="en-US" sz="1600" b="1" dirty="0" err="1">
                  <a:solidFill>
                    <a:schemeClr val="bg1"/>
                  </a:solidFill>
                  <a:latin typeface="+mj-lt"/>
                  <a:ea typeface="League Spartan" charset="0"/>
                  <a:cs typeface="Poppins" pitchFamily="2" charset="77"/>
                </a:rPr>
                <a:t>Liquiditäts</a:t>
              </a:r>
              <a:r>
                <a:rPr lang="en-US" sz="1600" b="1" dirty="0">
                  <a:solidFill>
                    <a:schemeClr val="bg1"/>
                  </a:solidFill>
                  <a:latin typeface="+mj-lt"/>
                  <a:ea typeface="League Spartan" charset="0"/>
                  <a:cs typeface="Poppins" pitchFamily="2" charset="77"/>
                </a:rPr>
                <a:t>-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69" name="TextBox 27">
              <a:extLst>
                <a:ext uri="{FF2B5EF4-FFF2-40B4-BE49-F238E27FC236}">
                  <a16:creationId xmlns:a16="http://schemas.microsoft.com/office/drawing/2014/main" xmlns="" id="{E97C74B9-3D40-4C05-89E6-6D60E108BA2F}"/>
                </a:ext>
              </a:extLst>
            </p:cNvPr>
            <p:cNvSpPr txBox="1"/>
            <p:nvPr/>
          </p:nvSpPr>
          <p:spPr>
            <a:xfrm>
              <a:off x="4735163" y="5098377"/>
              <a:ext cx="721672" cy="584775"/>
            </a:xfrm>
            <a:prstGeom prst="rect">
              <a:avLst/>
            </a:prstGeom>
            <a:noFill/>
          </p:spPr>
          <p:txBody>
            <a:bodyPr wrap="none" rtlCol="0" anchor="ctr" anchorCtr="0">
              <a:spAutoFit/>
            </a:bodyPr>
            <a:lstStyle/>
            <a:p>
              <a:pPr algn="ctr"/>
              <a:r>
                <a:rPr lang="en-US" sz="1600" b="1" dirty="0" err="1">
                  <a:solidFill>
                    <a:schemeClr val="bg1"/>
                  </a:solidFill>
                  <a:latin typeface="+mj-lt"/>
                  <a:ea typeface="League Spartan" charset="0"/>
                  <a:cs typeface="Poppins" pitchFamily="2" charset="77"/>
                </a:rPr>
                <a:t>Bilanz</a:t>
              </a:r>
              <a:r>
                <a:rPr lang="en-US" sz="1600" b="1" dirty="0">
                  <a:solidFill>
                    <a:schemeClr val="bg1"/>
                  </a:solidFill>
                  <a:latin typeface="+mj-lt"/>
                  <a:ea typeface="League Spartan" charset="0"/>
                  <a:cs typeface="Poppins" pitchFamily="2" charset="77"/>
                </a:rPr>
                <a:t>-</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Plan</a:t>
              </a:r>
            </a:p>
          </p:txBody>
        </p:sp>
        <p:sp>
          <p:nvSpPr>
            <p:cNvPr id="71" name="TextBox 29">
              <a:extLst>
                <a:ext uri="{FF2B5EF4-FFF2-40B4-BE49-F238E27FC236}">
                  <a16:creationId xmlns:a16="http://schemas.microsoft.com/office/drawing/2014/main" xmlns="" id="{2591DEE7-16C9-41F4-9D5E-ADD3F688DD1B}"/>
                </a:ext>
              </a:extLst>
            </p:cNvPr>
            <p:cNvSpPr txBox="1"/>
            <p:nvPr/>
          </p:nvSpPr>
          <p:spPr>
            <a:xfrm>
              <a:off x="5458142" y="3119173"/>
              <a:ext cx="1020472" cy="830997"/>
            </a:xfrm>
            <a:prstGeom prst="rect">
              <a:avLst/>
            </a:prstGeom>
            <a:noFill/>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Gewinn /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Verlust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Rechnung</a:t>
              </a:r>
            </a:p>
          </p:txBody>
        </p:sp>
      </p:grpSp>
      <p:sp>
        <p:nvSpPr>
          <p:cNvPr id="72" name="Subtitle 2">
            <a:extLst>
              <a:ext uri="{FF2B5EF4-FFF2-40B4-BE49-F238E27FC236}">
                <a16:creationId xmlns:a16="http://schemas.microsoft.com/office/drawing/2014/main" xmlns="" id="{A00ABA79-0538-415D-BDA8-FAD3B3DDFC56}"/>
              </a:ext>
            </a:extLst>
          </p:cNvPr>
          <p:cNvSpPr txBox="1">
            <a:spLocks/>
          </p:cNvSpPr>
          <p:nvPr/>
        </p:nvSpPr>
        <p:spPr>
          <a:xfrm>
            <a:off x="4135974" y="2487827"/>
            <a:ext cx="2874076" cy="13211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Einkommen</a:t>
            </a:r>
            <a:endParaRPr lang="en-US" sz="3200" dirty="0">
              <a:solidFill>
                <a:srgbClr val="245473"/>
              </a:solidFill>
            </a:endParaRPr>
          </a:p>
          <a:p>
            <a:pPr marL="171450" indent="-171450" algn="l">
              <a:lnSpc>
                <a:spcPct val="100000"/>
              </a:lnSpc>
              <a:buFont typeface="Arial" panose="020B0604020202020204" pitchFamily="34" charset="0"/>
              <a:buChar char="•"/>
            </a:pPr>
            <a:r>
              <a:rPr lang="en-US" sz="2000" dirty="0">
                <a:solidFill>
                  <a:srgbClr val="245473"/>
                </a:solidFill>
                <a:latin typeface="+mj-lt"/>
                <a:ea typeface="Lato Light" panose="020F0502020204030203" pitchFamily="34" charset="0"/>
                <a:cs typeface="Mukta ExtraLight" panose="020B0000000000000000" pitchFamily="34" charset="77"/>
              </a:rPr>
              <a:t>Ausgaben</a:t>
            </a:r>
          </a:p>
          <a:p>
            <a:pPr algn="l">
              <a:lnSpc>
                <a:spcPct val="100000"/>
              </a:lnSpc>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Ziel: Periodische Gewinnermittlung</a:t>
            </a:r>
            <a:endParaRPr lang="en-US" b="1" dirty="0">
              <a:solidFill>
                <a:srgbClr val="F95C2C"/>
              </a:solidFill>
              <a:latin typeface="+mj-lt"/>
              <a:ea typeface="Lato Light" panose="020F0502020204030203" pitchFamily="34" charset="0"/>
              <a:cs typeface="Mukta ExtraLight" panose="020B0000000000000000" pitchFamily="34" charset="77"/>
            </a:endParaRPr>
          </a:p>
        </p:txBody>
      </p:sp>
      <p:sp>
        <p:nvSpPr>
          <p:cNvPr id="73" name="TextBox 31">
            <a:extLst>
              <a:ext uri="{FF2B5EF4-FFF2-40B4-BE49-F238E27FC236}">
                <a16:creationId xmlns:a16="http://schemas.microsoft.com/office/drawing/2014/main" xmlns="" id="{5083A07E-8B8D-4BBF-BB11-6FC6C46F34A9}"/>
              </a:ext>
            </a:extLst>
          </p:cNvPr>
          <p:cNvSpPr txBox="1"/>
          <p:nvPr/>
        </p:nvSpPr>
        <p:spPr>
          <a:xfrm>
            <a:off x="4056139" y="2038363"/>
            <a:ext cx="2487027" cy="400110"/>
          </a:xfrm>
          <a:prstGeom prst="rect">
            <a:avLst/>
          </a:prstGeom>
          <a:noFill/>
        </p:spPr>
        <p:txBody>
          <a:bodyPr wrap="none" lIns="91440" tIns="45720" rIns="91440" bIns="45720" rtlCol="0" anchor="t" anchorCtr="0">
            <a:spAutoFit/>
          </a:bodyPr>
          <a:lstStyle/>
          <a:p>
            <a:r>
              <a:rPr lang="en-US" sz="2000" b="1" dirty="0">
                <a:solidFill>
                  <a:schemeClr val="accent1"/>
                </a:solidFill>
                <a:latin typeface="+mj-lt"/>
                <a:ea typeface="League Spartan" charset="0"/>
                <a:cs typeface="Poppins" pitchFamily="2" charset="77"/>
              </a:rPr>
              <a:t>Gewinn-/Verlustrechnung</a:t>
            </a:r>
          </a:p>
        </p:txBody>
      </p:sp>
      <p:sp>
        <p:nvSpPr>
          <p:cNvPr id="74" name="Subtitle 2">
            <a:extLst>
              <a:ext uri="{FF2B5EF4-FFF2-40B4-BE49-F238E27FC236}">
                <a16:creationId xmlns:a16="http://schemas.microsoft.com/office/drawing/2014/main" xmlns="" id="{9030C19A-A471-40C6-8190-09ED32A0EC9B}"/>
              </a:ext>
            </a:extLst>
          </p:cNvPr>
          <p:cNvSpPr txBox="1">
            <a:spLocks/>
          </p:cNvSpPr>
          <p:nvPr/>
        </p:nvSpPr>
        <p:spPr>
          <a:xfrm>
            <a:off x="9212527" y="2766811"/>
            <a:ext cx="2550437" cy="26938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1800" dirty="0" err="1">
                <a:solidFill>
                  <a:srgbClr val="245473"/>
                </a:solidFill>
                <a:latin typeface="+mj-lt"/>
                <a:ea typeface="Lato Light" panose="020F0502020204030203" pitchFamily="34" charset="0"/>
                <a:cs typeface="Mukta ExtraLight" panose="020B0000000000000000" pitchFamily="34" charset="77"/>
              </a:rPr>
              <a:t>Einzahlen</a:t>
            </a:r>
            <a:endParaRPr lang="en-US" sz="1800" dirty="0">
              <a:solidFill>
                <a:srgbClr val="245473"/>
              </a:solidFill>
            </a:endParaRPr>
          </a:p>
          <a:p>
            <a:pPr marL="171450" indent="-171450" algn="l">
              <a:lnSpc>
                <a:spcPct val="100000"/>
              </a:lnSpc>
              <a:buFont typeface="Arial" panose="020B0604020202020204" pitchFamily="34" charset="0"/>
              <a:buChar char="•"/>
            </a:pPr>
            <a:r>
              <a:rPr lang="en-US" sz="1800" dirty="0" err="1">
                <a:solidFill>
                  <a:srgbClr val="245473"/>
                </a:solidFill>
                <a:latin typeface="+mj-lt"/>
                <a:ea typeface="Lato Light" panose="020F0502020204030203" pitchFamily="34" charset="0"/>
                <a:cs typeface="Mukta ExtraLight" panose="020B0000000000000000" pitchFamily="34" charset="77"/>
              </a:rPr>
              <a:t>Auszahlen</a:t>
            </a:r>
            <a:endParaRPr lang="en-US" sz="1800" dirty="0">
              <a:solidFill>
                <a:srgbClr val="245473"/>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Wingdings" panose="05000000000000000000" pitchFamily="2" charset="2"/>
              <a:buChar char="à"/>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Ziel: Darstellung des </a:t>
            </a:r>
            <a:r>
              <a:rPr lang="en-US" sz="1800" b="1" dirty="0" err="1">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gesamten</a:t>
            </a: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 </a:t>
            </a:r>
            <a:r>
              <a:rPr lang="en-US" sz="1800" b="1" dirty="0" err="1">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liquiditätswirksamen</a:t>
            </a: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 Zahlungsverkehrs</a:t>
            </a:r>
            <a:endParaRPr lang="en-US" sz="1800" b="1" dirty="0">
              <a:solidFill>
                <a:srgbClr val="F95C2C"/>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Wingdings" panose="05000000000000000000" pitchFamily="2" charset="2"/>
              <a:buChar char="à"/>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Ziel: Erkennung von zukünftigen Liquiditätsengpässen</a:t>
            </a:r>
            <a:endParaRPr lang="en-US" sz="1800" b="1" dirty="0">
              <a:solidFill>
                <a:srgbClr val="F95C2C"/>
              </a:solidFill>
              <a:latin typeface="+mj-lt"/>
              <a:ea typeface="Lato Light" panose="020F0502020204030203" pitchFamily="34" charset="0"/>
              <a:cs typeface="Mukta ExtraLight" panose="020B0000000000000000" pitchFamily="34" charset="77"/>
            </a:endParaRPr>
          </a:p>
        </p:txBody>
      </p:sp>
      <p:sp>
        <p:nvSpPr>
          <p:cNvPr id="75" name="TextBox 33">
            <a:extLst>
              <a:ext uri="{FF2B5EF4-FFF2-40B4-BE49-F238E27FC236}">
                <a16:creationId xmlns:a16="http://schemas.microsoft.com/office/drawing/2014/main" xmlns="" id="{2E5CFBC4-6391-4373-99CC-B63A99322B7C}"/>
              </a:ext>
            </a:extLst>
          </p:cNvPr>
          <p:cNvSpPr txBox="1"/>
          <p:nvPr/>
        </p:nvSpPr>
        <p:spPr>
          <a:xfrm>
            <a:off x="9158275" y="2369998"/>
            <a:ext cx="1539204" cy="400110"/>
          </a:xfrm>
          <a:prstGeom prst="rect">
            <a:avLst/>
          </a:prstGeom>
          <a:noFill/>
        </p:spPr>
        <p:txBody>
          <a:bodyPr wrap="none" rtlCol="0" anchor="t" anchorCtr="0">
            <a:spAutoFit/>
          </a:bodyPr>
          <a:lstStyle/>
          <a:p>
            <a:r>
              <a:rPr lang="en-US" sz="2000" b="1" dirty="0">
                <a:solidFill>
                  <a:schemeClr val="accent2"/>
                </a:solidFill>
                <a:latin typeface="+mj-lt"/>
                <a:ea typeface="League Spartan" charset="0"/>
                <a:cs typeface="Poppins" pitchFamily="2" charset="77"/>
              </a:rPr>
              <a:t>Liquiditätsplan</a:t>
            </a:r>
          </a:p>
        </p:txBody>
      </p:sp>
      <p:sp>
        <p:nvSpPr>
          <p:cNvPr id="76" name="Subtitle 2">
            <a:extLst>
              <a:ext uri="{FF2B5EF4-FFF2-40B4-BE49-F238E27FC236}">
                <a16:creationId xmlns:a16="http://schemas.microsoft.com/office/drawing/2014/main" xmlns="" id="{1A99DFFC-7E0D-4A06-B8C7-C32F9E0DCBD0}"/>
              </a:ext>
            </a:extLst>
          </p:cNvPr>
          <p:cNvSpPr txBox="1">
            <a:spLocks/>
          </p:cNvSpPr>
          <p:nvPr/>
        </p:nvSpPr>
        <p:spPr>
          <a:xfrm>
            <a:off x="3921410" y="4971608"/>
            <a:ext cx="2740143" cy="18628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Vermögenswerte</a:t>
            </a:r>
            <a:endParaRPr lang="en-US" sz="1800" dirty="0">
              <a:solidFill>
                <a:srgbClr val="245473"/>
              </a:solidFill>
            </a:endParaRPr>
          </a:p>
          <a:p>
            <a:pPr marL="171450" indent="-171450" algn="l">
              <a:lnSpc>
                <a:spcPct val="100000"/>
              </a:lnSpc>
              <a:buFont typeface="Arial" panose="020B0604020202020204" pitchFamily="34" charset="0"/>
              <a:buChar char="•"/>
            </a:pPr>
            <a:r>
              <a:rPr lang="en-US" sz="1800" dirty="0">
                <a:solidFill>
                  <a:srgbClr val="245473"/>
                </a:solidFill>
                <a:latin typeface="+mj-lt"/>
                <a:ea typeface="Lato Light" panose="020F0502020204030203" pitchFamily="34" charset="0"/>
                <a:cs typeface="Mukta ExtraLight" panose="020B0000000000000000" pitchFamily="34" charset="77"/>
              </a:rPr>
              <a:t>Schulden</a:t>
            </a:r>
          </a:p>
          <a:p>
            <a:pPr algn="l">
              <a:lnSpc>
                <a:spcPct val="100000"/>
              </a:lnSpc>
            </a:pPr>
            <a:r>
              <a:rPr lang="en-US" sz="1800" b="1" dirty="0">
                <a:solidFill>
                  <a:srgbClr val="F95C2C"/>
                </a:solidFill>
                <a:latin typeface="+mj-lt"/>
                <a:ea typeface="Lato Light" panose="020F0502020204030203" pitchFamily="34" charset="0"/>
                <a:cs typeface="Mukta ExtraLight" panose="020B0000000000000000" pitchFamily="34" charset="77"/>
                <a:sym typeface="Wingdings" panose="05000000000000000000" pitchFamily="2" charset="2"/>
              </a:rPr>
              <a:t>Ziel: </a:t>
            </a:r>
            <a:r>
              <a:rPr lang="en-US" sz="1800" b="1" dirty="0">
                <a:solidFill>
                  <a:srgbClr val="F95C2C"/>
                </a:solidFill>
                <a:latin typeface="+mj-lt"/>
                <a:ea typeface="Lato Light" panose="020F0502020204030203" pitchFamily="34" charset="0"/>
                <a:cs typeface="Mukta ExtraLight" panose="020B0000000000000000" pitchFamily="34" charset="77"/>
              </a:rPr>
              <a:t>Präsentation </a:t>
            </a:r>
            <a:br>
              <a:rPr lang="en-US" sz="1800" b="1" dirty="0">
                <a:solidFill>
                  <a:srgbClr val="F95C2C"/>
                </a:solidFill>
                <a:latin typeface="+mj-lt"/>
                <a:ea typeface="Lato Light" panose="020F0502020204030203" pitchFamily="34" charset="0"/>
                <a:cs typeface="Mukta ExtraLight" panose="020B0000000000000000" pitchFamily="34" charset="77"/>
              </a:rPr>
            </a:br>
            <a:r>
              <a:rPr lang="en-US" sz="1800" b="1" dirty="0">
                <a:solidFill>
                  <a:srgbClr val="F95C2C"/>
                </a:solidFill>
                <a:latin typeface="+mj-lt"/>
                <a:ea typeface="Lato Light" panose="020F0502020204030203" pitchFamily="34" charset="0"/>
                <a:cs typeface="Mukta ExtraLight" panose="020B0000000000000000" pitchFamily="34" charset="77"/>
              </a:rPr>
              <a:t>der Quelle und der </a:t>
            </a:r>
            <a:br>
              <a:rPr lang="en-US" sz="1800" b="1" dirty="0">
                <a:solidFill>
                  <a:srgbClr val="F95C2C"/>
                </a:solidFill>
                <a:latin typeface="+mj-lt"/>
                <a:ea typeface="Lato Light" panose="020F0502020204030203" pitchFamily="34" charset="0"/>
                <a:cs typeface="Mukta ExtraLight" panose="020B0000000000000000" pitchFamily="34" charset="77"/>
              </a:rPr>
            </a:br>
            <a:r>
              <a:rPr lang="en-US" sz="1800" b="1" dirty="0">
                <a:solidFill>
                  <a:srgbClr val="F95C2C"/>
                </a:solidFill>
                <a:latin typeface="+mj-lt"/>
                <a:ea typeface="Lato Light" panose="020F0502020204030203" pitchFamily="34" charset="0"/>
                <a:cs typeface="Mukta ExtraLight" panose="020B0000000000000000" pitchFamily="34" charset="77"/>
              </a:rPr>
              <a:t>Verwendung der Mittel</a:t>
            </a:r>
          </a:p>
          <a:p>
            <a:pPr marL="171450" indent="-171450" algn="l">
              <a:lnSpc>
                <a:spcPct val="100000"/>
              </a:lnSpc>
              <a:buFont typeface="Wingdings" panose="05000000000000000000" pitchFamily="2" charset="2"/>
              <a:buChar char="à"/>
            </a:pPr>
            <a:endParaRPr lang="en-US" sz="1800" dirty="0">
              <a:solidFill>
                <a:schemeClr val="tx1"/>
              </a:solidFill>
              <a:latin typeface="+mj-lt"/>
              <a:ea typeface="Lato Light" panose="020F0502020204030203" pitchFamily="34" charset="0"/>
              <a:cs typeface="Mukta ExtraLight" panose="020B0000000000000000" pitchFamily="34" charset="77"/>
            </a:endParaRPr>
          </a:p>
        </p:txBody>
      </p:sp>
      <p:sp>
        <p:nvSpPr>
          <p:cNvPr id="77" name="TextBox 35">
            <a:extLst>
              <a:ext uri="{FF2B5EF4-FFF2-40B4-BE49-F238E27FC236}">
                <a16:creationId xmlns:a16="http://schemas.microsoft.com/office/drawing/2014/main" xmlns="" id="{F4137F18-C25E-4562-8961-677540C1F9AA}"/>
              </a:ext>
            </a:extLst>
          </p:cNvPr>
          <p:cNvSpPr txBox="1"/>
          <p:nvPr/>
        </p:nvSpPr>
        <p:spPr>
          <a:xfrm>
            <a:off x="3921410" y="4565002"/>
            <a:ext cx="2541401" cy="400110"/>
          </a:xfrm>
          <a:prstGeom prst="rect">
            <a:avLst/>
          </a:prstGeom>
          <a:noFill/>
        </p:spPr>
        <p:txBody>
          <a:bodyPr wrap="none" lIns="91440" tIns="45720" rIns="91440" bIns="45720" rtlCol="0" anchor="t" anchorCtr="0">
            <a:spAutoFit/>
          </a:bodyPr>
          <a:lstStyle/>
          <a:p>
            <a:r>
              <a:rPr lang="en-US" sz="2000" b="1" dirty="0">
                <a:solidFill>
                  <a:schemeClr val="accent3"/>
                </a:solidFill>
                <a:latin typeface="+mj-lt"/>
                <a:ea typeface="League Spartan" charset="0"/>
                <a:cs typeface="Poppins" pitchFamily="2" charset="77"/>
              </a:rPr>
              <a:t>Bilanzplanung</a:t>
            </a:r>
          </a:p>
        </p:txBody>
      </p:sp>
    </p:spTree>
    <p:extLst>
      <p:ext uri="{BB962C8B-B14F-4D97-AF65-F5344CB8AC3E}">
        <p14:creationId xmlns:p14="http://schemas.microsoft.com/office/powerpoint/2010/main" val="1950463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Auswirkungen der Krise reduzieren -</a:t>
            </a:r>
          </a:p>
          <a:p>
            <a:r>
              <a:rPr lang="en-GB" dirty="0" err="1"/>
              <a:t>Maßnahmen</a:t>
            </a:r>
            <a:r>
              <a:rPr lang="en-GB" dirty="0"/>
              <a:t> &amp; Toolbox zur Erkennung und Abschwächung von Krisen</a:t>
            </a:r>
          </a:p>
          <a:p>
            <a:endParaRPr lang="en-GB" dirty="0"/>
          </a:p>
        </p:txBody>
      </p:sp>
    </p:spTree>
    <p:extLst>
      <p:ext uri="{BB962C8B-B14F-4D97-AF65-F5344CB8AC3E}">
        <p14:creationId xmlns:p14="http://schemas.microsoft.com/office/powerpoint/2010/main" val="5770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0177" y="572297"/>
            <a:ext cx="9646889" cy="697353"/>
          </a:xfrm>
        </p:spPr>
        <p:txBody>
          <a:bodyPr>
            <a:noAutofit/>
          </a:bodyPr>
          <a:lstStyle/>
          <a:p>
            <a:r>
              <a:rPr lang="en-GB" dirty="0"/>
              <a:t>Toolbox zum Erkennen und Entschärfen von Kris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063" y="1897573"/>
            <a:ext cx="2724999" cy="41604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ie Finanzbuchhaltung / das Controlling muss sicherstellen, dass die Zahlen geeignet sind, um </a:t>
            </a:r>
            <a:r>
              <a:rPr lang="en-GB" sz="2000" dirty="0" err="1">
                <a:solidFill>
                  <a:srgbClr val="245473"/>
                </a:solidFill>
                <a:latin typeface="+mj-lt"/>
                <a:ea typeface="Open Sans Light" panose="020B0306030504020204" pitchFamily="34" charset="0"/>
                <a:cs typeface="Open Sans Light" panose="020B0306030504020204" pitchFamily="34" charset="0"/>
              </a:rPr>
              <a:t>Transparenz</a:t>
            </a:r>
            <a:r>
              <a:rPr lang="en-GB" sz="2000" dirty="0">
                <a:solidFill>
                  <a:srgbClr val="245473"/>
                </a:solidFill>
                <a:latin typeface="+mj-lt"/>
                <a:ea typeface="Open Sans Light" panose="020B0306030504020204" pitchFamily="34" charset="0"/>
                <a:cs typeface="Open Sans Light" panose="020B0306030504020204" pitchFamily="34" charset="0"/>
              </a:rPr>
              <a:t> im </a:t>
            </a:r>
            <a:r>
              <a:rPr lang="en-GB" sz="2000" dirty="0" err="1">
                <a:solidFill>
                  <a:srgbClr val="245473"/>
                </a:solidFill>
                <a:latin typeface="+mj-lt"/>
                <a:ea typeface="Open Sans Light" panose="020B0306030504020204" pitchFamily="34" charset="0"/>
                <a:cs typeface="Open Sans Light" panose="020B0306030504020204" pitchFamily="34" charset="0"/>
              </a:rPr>
              <a:t>Rahmen</a:t>
            </a:r>
            <a:r>
              <a:rPr lang="en-GB" sz="2000" dirty="0">
                <a:solidFill>
                  <a:srgbClr val="245473"/>
                </a:solidFill>
                <a:latin typeface="+mj-lt"/>
                <a:ea typeface="Open Sans Light" panose="020B0306030504020204" pitchFamily="34" charset="0"/>
                <a:cs typeface="Open Sans Light" panose="020B0306030504020204" pitchFamily="34" charset="0"/>
              </a:rPr>
              <a:t> der </a:t>
            </a:r>
            <a:r>
              <a:rPr lang="en-GB" sz="2000" dirty="0" err="1">
                <a:solidFill>
                  <a:srgbClr val="245473"/>
                </a:solidFill>
                <a:latin typeface="+mj-lt"/>
                <a:ea typeface="Open Sans Light" panose="020B0306030504020204" pitchFamily="34" charset="0"/>
                <a:cs typeface="Open Sans Light" panose="020B0306030504020204" pitchFamily="34" charset="0"/>
              </a:rPr>
              <a:t>Informations-beschaffung</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zu</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schaffen</a:t>
            </a:r>
            <a:r>
              <a:rPr lang="en-GB" sz="2000" dirty="0">
                <a:solidFill>
                  <a:srgbClr val="245473"/>
                </a:solidFill>
                <a:latin typeface="+mj-lt"/>
                <a:ea typeface="Open Sans Light" panose="020B0306030504020204" pitchFamily="34" charset="0"/>
                <a:cs typeface="Open Sans Light" panose="020B0306030504020204" pitchFamily="34" charset="0"/>
              </a:rPr>
              <a:t>.</a:t>
            </a:r>
            <a:endParaRPr lang="en-US" sz="2000" dirty="0">
              <a:solidFill>
                <a:srgbClr val="245473"/>
              </a:solidFill>
              <a:latin typeface="+mj-lt"/>
            </a:endParaRPr>
          </a:p>
          <a:p>
            <a:pPr algn="l">
              <a:lnSpc>
                <a:spcPct val="100000"/>
              </a:lnSpc>
              <a:spcBef>
                <a:spcPts val="600"/>
              </a:spcBef>
            </a:pPr>
            <a:r>
              <a:rPr lang="en-GB" sz="2000" dirty="0" err="1">
                <a:solidFill>
                  <a:srgbClr val="245473"/>
                </a:solidFill>
                <a:latin typeface="+mj-lt"/>
                <a:ea typeface="Open Sans Light" panose="020B0306030504020204" pitchFamily="34" charset="0"/>
                <a:cs typeface="Open Sans Light" panose="020B0306030504020204" pitchFamily="34" charset="0"/>
              </a:rPr>
              <a:t>Sorgen</a:t>
            </a:r>
            <a:r>
              <a:rPr lang="en-GB" sz="2000" dirty="0">
                <a:solidFill>
                  <a:srgbClr val="245473"/>
                </a:solidFill>
                <a:latin typeface="+mj-lt"/>
                <a:ea typeface="Open Sans Light" panose="020B0306030504020204" pitchFamily="34" charset="0"/>
                <a:cs typeface="Open Sans Light" panose="020B0306030504020204" pitchFamily="34" charset="0"/>
              </a:rPr>
              <a:t> Sie </a:t>
            </a:r>
            <a:r>
              <a:rPr lang="en-GB" sz="2000" dirty="0" err="1">
                <a:solidFill>
                  <a:srgbClr val="245473"/>
                </a:solidFill>
                <a:latin typeface="+mj-lt"/>
                <a:ea typeface="Open Sans Light" panose="020B0306030504020204" pitchFamily="34" charset="0"/>
                <a:cs typeface="Open Sans Light" panose="020B0306030504020204" pitchFamily="34" charset="0"/>
              </a:rPr>
              <a:t>für</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Transparenz</a:t>
            </a:r>
            <a:r>
              <a:rPr lang="en-GB" sz="2000" dirty="0">
                <a:solidFill>
                  <a:srgbClr val="245473"/>
                </a:solidFill>
                <a:latin typeface="+mj-lt"/>
                <a:ea typeface="Open Sans Light" panose="020B0306030504020204" pitchFamily="34" charset="0"/>
                <a:cs typeface="Open Sans Light" panose="020B0306030504020204" pitchFamily="34" charset="0"/>
              </a:rPr>
              <a:t> durch interne wie auch externe </a:t>
            </a:r>
            <a:r>
              <a:rPr lang="en-GB" sz="2000" dirty="0" err="1">
                <a:solidFill>
                  <a:srgbClr val="245473"/>
                </a:solidFill>
                <a:latin typeface="+mj-lt"/>
                <a:ea typeface="Open Sans Light" panose="020B0306030504020204" pitchFamily="34" charset="0"/>
                <a:cs typeface="Open Sans Light" panose="020B0306030504020204" pitchFamily="34" charset="0"/>
              </a:rPr>
              <a:t>offene</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Kommunikatio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besonders</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bei</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Fremdkapitalgebern</a:t>
            </a:r>
            <a:r>
              <a:rPr lang="en-GB" sz="2000" dirty="0">
                <a:solidFill>
                  <a:srgbClr val="245473"/>
                </a:solidFill>
                <a:latin typeface="+mj-lt"/>
                <a:ea typeface="Open Sans Light" panose="020B0306030504020204" pitchFamily="34" charset="0"/>
                <a:cs typeface="Open Sans Light" panose="020B0306030504020204" pitchFamily="34" charset="0"/>
              </a:rPr>
              <a:t>)</a:t>
            </a:r>
          </a:p>
        </p:txBody>
      </p:sp>
      <p:sp>
        <p:nvSpPr>
          <p:cNvPr id="24" name="Freeform 6">
            <a:extLst>
              <a:ext uri="{FF2B5EF4-FFF2-40B4-BE49-F238E27FC236}">
                <a16:creationId xmlns:a16="http://schemas.microsoft.com/office/drawing/2014/main" xmlns="" id="{758672DC-06CC-40F2-BBCB-D31FBFB25582}"/>
              </a:ext>
            </a:extLst>
          </p:cNvPr>
          <p:cNvSpPr>
            <a:spLocks noChangeArrowheads="1"/>
          </p:cNvSpPr>
          <p:nvPr/>
        </p:nvSpPr>
        <p:spPr bwMode="auto">
          <a:xfrm>
            <a:off x="4700110" y="4185941"/>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1"/>
          </a:solidFill>
          <a:ln>
            <a:noFill/>
          </a:ln>
          <a:effectLst/>
        </p:spPr>
        <p:txBody>
          <a:bodyPr wrap="none" anchor="ctr"/>
          <a:lstStyle/>
          <a:p>
            <a:endParaRPr lang="en-GB" sz="2450" dirty="0">
              <a:latin typeface="+mj-lt"/>
            </a:endParaRPr>
          </a:p>
        </p:txBody>
      </p:sp>
      <p:sp>
        <p:nvSpPr>
          <p:cNvPr id="25" name="Freeform 7">
            <a:extLst>
              <a:ext uri="{FF2B5EF4-FFF2-40B4-BE49-F238E27FC236}">
                <a16:creationId xmlns:a16="http://schemas.microsoft.com/office/drawing/2014/main" xmlns="" id="{DE3A98B4-27A6-4C98-8349-AC0BA8A9B6E2}"/>
              </a:ext>
            </a:extLst>
          </p:cNvPr>
          <p:cNvSpPr>
            <a:spLocks noChangeArrowheads="1"/>
          </p:cNvSpPr>
          <p:nvPr/>
        </p:nvSpPr>
        <p:spPr bwMode="auto">
          <a:xfrm>
            <a:off x="6358119" y="3834710"/>
            <a:ext cx="212229" cy="210987"/>
          </a:xfrm>
          <a:custGeom>
            <a:avLst/>
            <a:gdLst>
              <a:gd name="T0" fmla="*/ 0 w 755"/>
              <a:gd name="T1" fmla="*/ 750 h 751"/>
              <a:gd name="T2" fmla="*/ 754 w 755"/>
              <a:gd name="T3" fmla="*/ 750 h 751"/>
              <a:gd name="T4" fmla="*/ 754 w 755"/>
              <a:gd name="T5" fmla="*/ 0 h 751"/>
              <a:gd name="T6" fmla="*/ 750 w 755"/>
              <a:gd name="T7" fmla="*/ 0 h 751"/>
              <a:gd name="T8" fmla="*/ 0 w 755"/>
              <a:gd name="T9" fmla="*/ 750 h 751"/>
            </a:gdLst>
            <a:ahLst/>
            <a:cxnLst>
              <a:cxn ang="0">
                <a:pos x="T0" y="T1"/>
              </a:cxn>
              <a:cxn ang="0">
                <a:pos x="T2" y="T3"/>
              </a:cxn>
              <a:cxn ang="0">
                <a:pos x="T4" y="T5"/>
              </a:cxn>
              <a:cxn ang="0">
                <a:pos x="T6" y="T7"/>
              </a:cxn>
              <a:cxn ang="0">
                <a:pos x="T8" y="T9"/>
              </a:cxn>
            </a:cxnLst>
            <a:rect l="0" t="0" r="r" b="b"/>
            <a:pathLst>
              <a:path w="755" h="751">
                <a:moveTo>
                  <a:pt x="0" y="750"/>
                </a:moveTo>
                <a:lnTo>
                  <a:pt x="754" y="750"/>
                </a:lnTo>
                <a:lnTo>
                  <a:pt x="754" y="0"/>
                </a:lnTo>
                <a:lnTo>
                  <a:pt x="750" y="0"/>
                </a:lnTo>
                <a:lnTo>
                  <a:pt x="0" y="750"/>
                </a:lnTo>
              </a:path>
            </a:pathLst>
          </a:custGeom>
          <a:solidFill>
            <a:schemeClr val="accent2"/>
          </a:solidFill>
          <a:ln>
            <a:noFill/>
          </a:ln>
          <a:effectLst/>
        </p:spPr>
        <p:txBody>
          <a:bodyPr wrap="none" anchor="ctr"/>
          <a:lstStyle/>
          <a:p>
            <a:endParaRPr lang="en-GB" sz="2450" dirty="0">
              <a:latin typeface="+mj-lt"/>
            </a:endParaRPr>
          </a:p>
        </p:txBody>
      </p:sp>
      <p:sp>
        <p:nvSpPr>
          <p:cNvPr id="26" name="Freeform 8">
            <a:extLst>
              <a:ext uri="{FF2B5EF4-FFF2-40B4-BE49-F238E27FC236}">
                <a16:creationId xmlns:a16="http://schemas.microsoft.com/office/drawing/2014/main" xmlns="" id="{EFC6ECC0-24DA-40AF-8AAD-CD9378E87F53}"/>
              </a:ext>
            </a:extLst>
          </p:cNvPr>
          <p:cNvSpPr>
            <a:spLocks noChangeArrowheads="1"/>
          </p:cNvSpPr>
          <p:nvPr/>
        </p:nvSpPr>
        <p:spPr bwMode="auto">
          <a:xfrm>
            <a:off x="7976118" y="3508922"/>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3"/>
          </a:solidFill>
          <a:ln>
            <a:noFill/>
          </a:ln>
          <a:effectLst/>
        </p:spPr>
        <p:txBody>
          <a:bodyPr wrap="none" anchor="ctr"/>
          <a:lstStyle/>
          <a:p>
            <a:endParaRPr lang="en-GB" sz="2450" dirty="0">
              <a:latin typeface="+mj-lt"/>
            </a:endParaRPr>
          </a:p>
        </p:txBody>
      </p:sp>
      <p:sp>
        <p:nvSpPr>
          <p:cNvPr id="27" name="Freeform 77">
            <a:extLst>
              <a:ext uri="{FF2B5EF4-FFF2-40B4-BE49-F238E27FC236}">
                <a16:creationId xmlns:a16="http://schemas.microsoft.com/office/drawing/2014/main" xmlns="" id="{8B2ACDAA-C243-4037-8E3E-9590B3A7EA08}"/>
              </a:ext>
            </a:extLst>
          </p:cNvPr>
          <p:cNvSpPr>
            <a:spLocks noChangeArrowheads="1"/>
          </p:cNvSpPr>
          <p:nvPr/>
        </p:nvSpPr>
        <p:spPr bwMode="auto">
          <a:xfrm>
            <a:off x="5463413" y="2800215"/>
            <a:ext cx="232808" cy="147772"/>
          </a:xfrm>
          <a:custGeom>
            <a:avLst/>
            <a:gdLst>
              <a:gd name="connsiteX0" fmla="*/ 408053 w 620659"/>
              <a:gd name="connsiteY0" fmla="*/ 0 h 393956"/>
              <a:gd name="connsiteX1" fmla="*/ 403544 w 620659"/>
              <a:gd name="connsiteY1" fmla="*/ 60159 h 393956"/>
              <a:gd name="connsiteX2" fmla="*/ 290070 w 620659"/>
              <a:gd name="connsiteY2" fmla="*/ 141373 h 393956"/>
              <a:gd name="connsiteX3" fmla="*/ 369751 w 620659"/>
              <a:gd name="connsiteY3" fmla="*/ 152477 h 393956"/>
              <a:gd name="connsiteX4" fmla="*/ 372034 w 620659"/>
              <a:gd name="connsiteY4" fmla="*/ 152509 h 393956"/>
              <a:gd name="connsiteX5" fmla="*/ 571766 w 620659"/>
              <a:gd name="connsiteY5" fmla="*/ 136109 h 393956"/>
              <a:gd name="connsiteX6" fmla="*/ 577036 w 620659"/>
              <a:gd name="connsiteY6" fmla="*/ 192508 h 393956"/>
              <a:gd name="connsiteX7" fmla="*/ 383978 w 620659"/>
              <a:gd name="connsiteY7" fmla="*/ 208361 h 393956"/>
              <a:gd name="connsiteX8" fmla="*/ 384005 w 620659"/>
              <a:gd name="connsiteY8" fmla="*/ 209417 h 393956"/>
              <a:gd name="connsiteX9" fmla="*/ 383837 w 620659"/>
              <a:gd name="connsiteY9" fmla="*/ 215064 h 393956"/>
              <a:gd name="connsiteX10" fmla="*/ 590715 w 620659"/>
              <a:gd name="connsiteY10" fmla="*/ 205889 h 393956"/>
              <a:gd name="connsiteX11" fmla="*/ 593716 w 620659"/>
              <a:gd name="connsiteY11" fmla="*/ 262672 h 393956"/>
              <a:gd name="connsiteX12" fmla="*/ 382070 w 620659"/>
              <a:gd name="connsiteY12" fmla="*/ 272745 h 393956"/>
              <a:gd name="connsiteX13" fmla="*/ 381393 w 620659"/>
              <a:gd name="connsiteY13" fmla="*/ 277934 h 393956"/>
              <a:gd name="connsiteX14" fmla="*/ 580287 w 620659"/>
              <a:gd name="connsiteY14" fmla="*/ 277934 h 393956"/>
              <a:gd name="connsiteX15" fmla="*/ 580287 w 620659"/>
              <a:gd name="connsiteY15" fmla="*/ 333444 h 393956"/>
              <a:gd name="connsiteX16" fmla="*/ 374150 w 620659"/>
              <a:gd name="connsiteY16" fmla="*/ 333444 h 393956"/>
              <a:gd name="connsiteX17" fmla="*/ 374048 w 620659"/>
              <a:gd name="connsiteY17" fmla="*/ 334223 h 393956"/>
              <a:gd name="connsiteX18" fmla="*/ 372905 w 620659"/>
              <a:gd name="connsiteY18" fmla="*/ 337820 h 393956"/>
              <a:gd name="connsiteX19" fmla="*/ 527826 w 620659"/>
              <a:gd name="connsiteY19" fmla="*/ 339683 h 393956"/>
              <a:gd name="connsiteX20" fmla="*/ 527826 w 620659"/>
              <a:gd name="connsiteY20" fmla="*/ 385665 h 393956"/>
              <a:gd name="connsiteX21" fmla="*/ 358134 w 620659"/>
              <a:gd name="connsiteY21" fmla="*/ 384306 h 393956"/>
              <a:gd name="connsiteX22" fmla="*/ 356952 w 620659"/>
              <a:gd name="connsiteY22" fmla="*/ 388026 h 393956"/>
              <a:gd name="connsiteX23" fmla="*/ 130757 w 620659"/>
              <a:gd name="connsiteY23" fmla="*/ 360954 h 393956"/>
              <a:gd name="connsiteX24" fmla="*/ 0 w 620659"/>
              <a:gd name="connsiteY24" fmla="*/ 360954 h 393956"/>
              <a:gd name="connsiteX25" fmla="*/ 12775 w 620659"/>
              <a:gd name="connsiteY25" fmla="*/ 170701 h 393956"/>
              <a:gd name="connsiteX26" fmla="*/ 136017 w 620659"/>
              <a:gd name="connsiteY26" fmla="*/ 157917 h 393956"/>
              <a:gd name="connsiteX27" fmla="*/ 350189 w 620659"/>
              <a:gd name="connsiteY27" fmla="*/ 30079 h 393956"/>
              <a:gd name="connsiteX28" fmla="*/ 408053 w 620659"/>
              <a:gd name="connsiteY28" fmla="*/ 0 h 393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0659" h="393956">
                <a:moveTo>
                  <a:pt x="408053" y="0"/>
                </a:moveTo>
                <a:cubicBezTo>
                  <a:pt x="408053" y="0"/>
                  <a:pt x="442621" y="27823"/>
                  <a:pt x="403544" y="60159"/>
                </a:cubicBezTo>
                <a:cubicBezTo>
                  <a:pt x="365970" y="93246"/>
                  <a:pt x="267526" y="120318"/>
                  <a:pt x="290070" y="141373"/>
                </a:cubicBezTo>
                <a:cubicBezTo>
                  <a:pt x="299088" y="149833"/>
                  <a:pt x="346573" y="151948"/>
                  <a:pt x="369751" y="152477"/>
                </a:cubicBezTo>
                <a:lnTo>
                  <a:pt x="372034" y="152509"/>
                </a:lnTo>
                <a:lnTo>
                  <a:pt x="571766" y="136109"/>
                </a:lnTo>
                <a:cubicBezTo>
                  <a:pt x="609403" y="132349"/>
                  <a:pt x="614672" y="189500"/>
                  <a:pt x="577036" y="192508"/>
                </a:cubicBezTo>
                <a:lnTo>
                  <a:pt x="383978" y="208361"/>
                </a:lnTo>
                <a:lnTo>
                  <a:pt x="384005" y="209417"/>
                </a:lnTo>
                <a:lnTo>
                  <a:pt x="383837" y="215064"/>
                </a:lnTo>
                <a:lnTo>
                  <a:pt x="590715" y="205889"/>
                </a:lnTo>
                <a:cubicBezTo>
                  <a:pt x="628970" y="205142"/>
                  <a:pt x="631220" y="261178"/>
                  <a:pt x="593716" y="262672"/>
                </a:cubicBezTo>
                <a:lnTo>
                  <a:pt x="382070" y="272745"/>
                </a:lnTo>
                <a:lnTo>
                  <a:pt x="381393" y="277934"/>
                </a:lnTo>
                <a:lnTo>
                  <a:pt x="580287" y="277934"/>
                </a:lnTo>
                <a:cubicBezTo>
                  <a:pt x="617981" y="277934"/>
                  <a:pt x="617981" y="333444"/>
                  <a:pt x="580287" y="333444"/>
                </a:cubicBezTo>
                <a:lnTo>
                  <a:pt x="374150" y="333444"/>
                </a:lnTo>
                <a:lnTo>
                  <a:pt x="374048" y="334223"/>
                </a:lnTo>
                <a:lnTo>
                  <a:pt x="372905" y="337820"/>
                </a:lnTo>
                <a:lnTo>
                  <a:pt x="527826" y="339683"/>
                </a:lnTo>
                <a:cubicBezTo>
                  <a:pt x="558432" y="339683"/>
                  <a:pt x="557685" y="386395"/>
                  <a:pt x="527826" y="385665"/>
                </a:cubicBezTo>
                <a:lnTo>
                  <a:pt x="358134" y="384306"/>
                </a:lnTo>
                <a:lnTo>
                  <a:pt x="356952" y="388026"/>
                </a:lnTo>
                <a:cubicBezTo>
                  <a:pt x="356952" y="388026"/>
                  <a:pt x="141278" y="412841"/>
                  <a:pt x="130757" y="360954"/>
                </a:cubicBezTo>
                <a:cubicBezTo>
                  <a:pt x="97692" y="360954"/>
                  <a:pt x="21793" y="360954"/>
                  <a:pt x="0" y="360954"/>
                </a:cubicBezTo>
                <a:lnTo>
                  <a:pt x="12775" y="170701"/>
                </a:lnTo>
                <a:cubicBezTo>
                  <a:pt x="59367" y="166189"/>
                  <a:pt x="99946" y="163181"/>
                  <a:pt x="136017" y="157917"/>
                </a:cubicBezTo>
                <a:cubicBezTo>
                  <a:pt x="168331" y="72191"/>
                  <a:pt x="284810" y="64671"/>
                  <a:pt x="350189" y="30079"/>
                </a:cubicBezTo>
                <a:cubicBezTo>
                  <a:pt x="382503" y="14288"/>
                  <a:pt x="408053" y="0"/>
                  <a:pt x="408053" y="0"/>
                </a:cubicBez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28" name="Freeform 15">
            <a:extLst>
              <a:ext uri="{FF2B5EF4-FFF2-40B4-BE49-F238E27FC236}">
                <a16:creationId xmlns:a16="http://schemas.microsoft.com/office/drawing/2014/main" xmlns="" id="{9D99425B-A08D-4CF3-8ADC-A090DAA326BF}"/>
              </a:ext>
            </a:extLst>
          </p:cNvPr>
          <p:cNvSpPr>
            <a:spLocks noChangeArrowheads="1"/>
          </p:cNvSpPr>
          <p:nvPr/>
        </p:nvSpPr>
        <p:spPr bwMode="auto">
          <a:xfrm>
            <a:off x="4999241" y="2609086"/>
            <a:ext cx="522504" cy="451760"/>
          </a:xfrm>
          <a:custGeom>
            <a:avLst/>
            <a:gdLst>
              <a:gd name="T0" fmla="*/ 283 w 1858"/>
              <a:gd name="T1" fmla="*/ 0 h 1605"/>
              <a:gd name="T2" fmla="*/ 753 w 1858"/>
              <a:gd name="T3" fmla="*/ 991 h 1605"/>
              <a:gd name="T4" fmla="*/ 1779 w 1858"/>
              <a:gd name="T5" fmla="*/ 805 h 1605"/>
              <a:gd name="T6" fmla="*/ 1857 w 1858"/>
              <a:gd name="T7" fmla="*/ 1258 h 1605"/>
              <a:gd name="T8" fmla="*/ 461 w 1858"/>
              <a:gd name="T9" fmla="*/ 1604 h 1605"/>
              <a:gd name="T10" fmla="*/ 0 w 1858"/>
              <a:gd name="T11" fmla="*/ 752 h 1605"/>
              <a:gd name="T12" fmla="*/ 283 w 1858"/>
              <a:gd name="T13" fmla="*/ 0 h 1605"/>
            </a:gdLst>
            <a:ahLst/>
            <a:cxnLst>
              <a:cxn ang="0">
                <a:pos x="T0" y="T1"/>
              </a:cxn>
              <a:cxn ang="0">
                <a:pos x="T2" y="T3"/>
              </a:cxn>
              <a:cxn ang="0">
                <a:pos x="T4" y="T5"/>
              </a:cxn>
              <a:cxn ang="0">
                <a:pos x="T6" y="T7"/>
              </a:cxn>
              <a:cxn ang="0">
                <a:pos x="T8" y="T9"/>
              </a:cxn>
              <a:cxn ang="0">
                <a:pos x="T10" y="T11"/>
              </a:cxn>
              <a:cxn ang="0">
                <a:pos x="T12" y="T13"/>
              </a:cxn>
            </a:cxnLst>
            <a:rect l="0" t="0" r="r" b="b"/>
            <a:pathLst>
              <a:path w="1858" h="1605">
                <a:moveTo>
                  <a:pt x="283" y="0"/>
                </a:moveTo>
                <a:lnTo>
                  <a:pt x="753" y="991"/>
                </a:lnTo>
                <a:lnTo>
                  <a:pt x="1779" y="805"/>
                </a:lnTo>
                <a:lnTo>
                  <a:pt x="1857" y="1258"/>
                </a:lnTo>
                <a:lnTo>
                  <a:pt x="461" y="1604"/>
                </a:lnTo>
                <a:lnTo>
                  <a:pt x="0" y="752"/>
                </a:lnTo>
                <a:lnTo>
                  <a:pt x="283"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29" name="Freeform 16">
            <a:extLst>
              <a:ext uri="{FF2B5EF4-FFF2-40B4-BE49-F238E27FC236}">
                <a16:creationId xmlns:a16="http://schemas.microsoft.com/office/drawing/2014/main" xmlns="" id="{DD78D3A7-2700-47F5-B316-017B7C9DBDCE}"/>
              </a:ext>
            </a:extLst>
          </p:cNvPr>
          <p:cNvSpPr>
            <a:spLocks noChangeArrowheads="1"/>
          </p:cNvSpPr>
          <p:nvPr/>
        </p:nvSpPr>
        <p:spPr bwMode="auto">
          <a:xfrm>
            <a:off x="3667541" y="2831243"/>
            <a:ext cx="490235" cy="544842"/>
          </a:xfrm>
          <a:custGeom>
            <a:avLst/>
            <a:gdLst>
              <a:gd name="T0" fmla="*/ 1740 w 1741"/>
              <a:gd name="T1" fmla="*/ 1467 h 1936"/>
              <a:gd name="T2" fmla="*/ 1166 w 1741"/>
              <a:gd name="T3" fmla="*/ 1906 h 1936"/>
              <a:gd name="T4" fmla="*/ 1166 w 1741"/>
              <a:gd name="T5" fmla="*/ 1906 h 1936"/>
              <a:gd name="T6" fmla="*/ 1049 w 1741"/>
              <a:gd name="T7" fmla="*/ 1890 h 1936"/>
              <a:gd name="T8" fmla="*/ 29 w 1741"/>
              <a:gd name="T9" fmla="*/ 557 h 1936"/>
              <a:gd name="T10" fmla="*/ 29 w 1741"/>
              <a:gd name="T11" fmla="*/ 557 h 1936"/>
              <a:gd name="T12" fmla="*/ 45 w 1741"/>
              <a:gd name="T13" fmla="*/ 439 h 1936"/>
              <a:gd name="T14" fmla="*/ 619 w 1741"/>
              <a:gd name="T15" fmla="*/ 0 h 1936"/>
              <a:gd name="T16" fmla="*/ 619 w 1741"/>
              <a:gd name="T17" fmla="*/ 0 h 1936"/>
              <a:gd name="T18" fmla="*/ 603 w 1741"/>
              <a:gd name="T19" fmla="*/ 119 h 1936"/>
              <a:gd name="T20" fmla="*/ 1621 w 1741"/>
              <a:gd name="T21" fmla="*/ 1452 h 1936"/>
              <a:gd name="T22" fmla="*/ 1621 w 1741"/>
              <a:gd name="T23" fmla="*/ 1452 h 1936"/>
              <a:gd name="T24" fmla="*/ 1740 w 1741"/>
              <a:gd name="T25" fmla="*/ 1467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1" h="1936">
                <a:moveTo>
                  <a:pt x="1740" y="1467"/>
                </a:moveTo>
                <a:lnTo>
                  <a:pt x="1166" y="1906"/>
                </a:lnTo>
                <a:lnTo>
                  <a:pt x="1166" y="1906"/>
                </a:lnTo>
                <a:cubicBezTo>
                  <a:pt x="1130" y="1935"/>
                  <a:pt x="1076" y="1928"/>
                  <a:pt x="1049" y="1890"/>
                </a:cubicBezTo>
                <a:lnTo>
                  <a:pt x="29" y="557"/>
                </a:lnTo>
                <a:lnTo>
                  <a:pt x="29" y="557"/>
                </a:lnTo>
                <a:cubicBezTo>
                  <a:pt x="0" y="520"/>
                  <a:pt x="8" y="468"/>
                  <a:pt x="45" y="439"/>
                </a:cubicBezTo>
                <a:lnTo>
                  <a:pt x="619" y="0"/>
                </a:lnTo>
                <a:lnTo>
                  <a:pt x="619" y="0"/>
                </a:lnTo>
                <a:cubicBezTo>
                  <a:pt x="582" y="29"/>
                  <a:pt x="574" y="82"/>
                  <a:pt x="603" y="119"/>
                </a:cubicBezTo>
                <a:lnTo>
                  <a:pt x="1621" y="1452"/>
                </a:lnTo>
                <a:lnTo>
                  <a:pt x="1621" y="1452"/>
                </a:lnTo>
                <a:cubicBezTo>
                  <a:pt x="1650" y="1489"/>
                  <a:pt x="1703" y="1496"/>
                  <a:pt x="1740" y="1467"/>
                </a:cubicBezTo>
              </a:path>
            </a:pathLst>
          </a:custGeom>
          <a:solidFill>
            <a:srgbClr val="28282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0" name="Freeform 78">
            <a:extLst>
              <a:ext uri="{FF2B5EF4-FFF2-40B4-BE49-F238E27FC236}">
                <a16:creationId xmlns:a16="http://schemas.microsoft.com/office/drawing/2014/main" xmlns="" id="{0A2EBD7C-64B4-4CD4-ADF2-D2E1CDE69CEF}"/>
              </a:ext>
            </a:extLst>
          </p:cNvPr>
          <p:cNvSpPr>
            <a:spLocks noChangeArrowheads="1"/>
          </p:cNvSpPr>
          <p:nvPr/>
        </p:nvSpPr>
        <p:spPr bwMode="auto">
          <a:xfrm>
            <a:off x="3832099" y="2731374"/>
            <a:ext cx="457564" cy="517207"/>
          </a:xfrm>
          <a:custGeom>
            <a:avLst/>
            <a:gdLst>
              <a:gd name="connsiteX0" fmla="*/ 827635 w 1219852"/>
              <a:gd name="connsiteY0" fmla="*/ 347519 h 1378859"/>
              <a:gd name="connsiteX1" fmla="*/ 811843 w 1219852"/>
              <a:gd name="connsiteY1" fmla="*/ 351753 h 1378859"/>
              <a:gd name="connsiteX2" fmla="*/ 736429 w 1219852"/>
              <a:gd name="connsiteY2" fmla="*/ 409315 h 1378859"/>
              <a:gd name="connsiteX3" fmla="*/ 914342 w 1219852"/>
              <a:gd name="connsiteY3" fmla="*/ 642867 h 1378859"/>
              <a:gd name="connsiteX4" fmla="*/ 990065 w 1219852"/>
              <a:gd name="connsiteY4" fmla="*/ 585069 h 1378859"/>
              <a:gd name="connsiteX5" fmla="*/ 994577 w 1219852"/>
              <a:gd name="connsiteY5" fmla="*/ 554964 h 1378859"/>
              <a:gd name="connsiteX6" fmla="*/ 841171 w 1219852"/>
              <a:gd name="connsiteY6" fmla="*/ 356269 h 1378859"/>
              <a:gd name="connsiteX7" fmla="*/ 827635 w 1219852"/>
              <a:gd name="connsiteY7" fmla="*/ 347519 h 1378859"/>
              <a:gd name="connsiteX8" fmla="*/ 400856 w 1219852"/>
              <a:gd name="connsiteY8" fmla="*/ 628 h 1378859"/>
              <a:gd name="connsiteX9" fmla="*/ 443392 w 1219852"/>
              <a:gd name="connsiteY9" fmla="*/ 24637 h 1378859"/>
              <a:gd name="connsiteX10" fmla="*/ 693116 w 1219852"/>
              <a:gd name="connsiteY10" fmla="*/ 352458 h 1378859"/>
              <a:gd name="connsiteX11" fmla="*/ 768980 w 1219852"/>
              <a:gd name="connsiteY11" fmla="*/ 294553 h 1378859"/>
              <a:gd name="connsiteX12" fmla="*/ 899074 w 1219852"/>
              <a:gd name="connsiteY12" fmla="*/ 311863 h 1378859"/>
              <a:gd name="connsiteX13" fmla="*/ 1052480 w 1219852"/>
              <a:gd name="connsiteY13" fmla="*/ 511311 h 1378859"/>
              <a:gd name="connsiteX14" fmla="*/ 1034432 w 1219852"/>
              <a:gd name="connsiteY14" fmla="*/ 643022 h 1378859"/>
              <a:gd name="connsiteX15" fmla="*/ 958570 w 1219852"/>
              <a:gd name="connsiteY15" fmla="*/ 700926 h 1378859"/>
              <a:gd name="connsiteX16" fmla="*/ 1206410 w 1219852"/>
              <a:gd name="connsiteY16" fmla="*/ 1026273 h 1378859"/>
              <a:gd name="connsiteX17" fmla="*/ 1195167 w 1219852"/>
              <a:gd name="connsiteY17" fmla="*/ 1113307 h 1378859"/>
              <a:gd name="connsiteX18" fmla="*/ 865376 w 1219852"/>
              <a:gd name="connsiteY18" fmla="*/ 1365404 h 1378859"/>
              <a:gd name="connsiteX19" fmla="*/ 776182 w 1219852"/>
              <a:gd name="connsiteY19" fmla="*/ 1354149 h 1378859"/>
              <a:gd name="connsiteX20" fmla="*/ 13163 w 1219852"/>
              <a:gd name="connsiteY20" fmla="*/ 354015 h 1378859"/>
              <a:gd name="connsiteX21" fmla="*/ 25156 w 1219852"/>
              <a:gd name="connsiteY21" fmla="*/ 264730 h 1378859"/>
              <a:gd name="connsiteX22" fmla="*/ 354947 w 1219852"/>
              <a:gd name="connsiteY22" fmla="*/ 12633 h 1378859"/>
              <a:gd name="connsiteX23" fmla="*/ 400856 w 1219852"/>
              <a:gd name="connsiteY23" fmla="*/ 628 h 137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852" h="1378859">
                <a:moveTo>
                  <a:pt x="827635" y="347519"/>
                </a:moveTo>
                <a:cubicBezTo>
                  <a:pt x="822183" y="346673"/>
                  <a:pt x="816355" y="347990"/>
                  <a:pt x="811843" y="351753"/>
                </a:cubicBezTo>
                <a:lnTo>
                  <a:pt x="736429" y="409315"/>
                </a:lnTo>
                <a:lnTo>
                  <a:pt x="914342" y="642867"/>
                </a:lnTo>
                <a:lnTo>
                  <a:pt x="990065" y="585069"/>
                </a:lnTo>
                <a:cubicBezTo>
                  <a:pt x="999840" y="579048"/>
                  <a:pt x="1001344" y="564748"/>
                  <a:pt x="994577" y="554964"/>
                </a:cubicBezTo>
                <a:lnTo>
                  <a:pt x="841171" y="356269"/>
                </a:lnTo>
                <a:cubicBezTo>
                  <a:pt x="838163" y="351377"/>
                  <a:pt x="833087" y="348366"/>
                  <a:pt x="827635" y="347519"/>
                </a:cubicBezTo>
                <a:close/>
                <a:moveTo>
                  <a:pt x="400856" y="628"/>
                </a:moveTo>
                <a:cubicBezTo>
                  <a:pt x="416971" y="2879"/>
                  <a:pt x="432524" y="11132"/>
                  <a:pt x="443392" y="24637"/>
                </a:cubicBezTo>
                <a:lnTo>
                  <a:pt x="693116" y="352458"/>
                </a:lnTo>
                <a:lnTo>
                  <a:pt x="768980" y="294553"/>
                </a:lnTo>
                <a:cubicBezTo>
                  <a:pt x="809587" y="262942"/>
                  <a:pt x="867491" y="271221"/>
                  <a:pt x="899074" y="311863"/>
                </a:cubicBezTo>
                <a:lnTo>
                  <a:pt x="1052480" y="511311"/>
                </a:lnTo>
                <a:cubicBezTo>
                  <a:pt x="1082559" y="553458"/>
                  <a:pt x="1075039" y="610658"/>
                  <a:pt x="1034432" y="643022"/>
                </a:cubicBezTo>
                <a:lnTo>
                  <a:pt x="958570" y="700926"/>
                </a:lnTo>
                <a:lnTo>
                  <a:pt x="1206410" y="1026273"/>
                </a:lnTo>
                <a:cubicBezTo>
                  <a:pt x="1228147" y="1052533"/>
                  <a:pt x="1222900" y="1093049"/>
                  <a:pt x="1195167" y="1113307"/>
                </a:cubicBezTo>
                <a:lnTo>
                  <a:pt x="865376" y="1365404"/>
                </a:lnTo>
                <a:cubicBezTo>
                  <a:pt x="837643" y="1387162"/>
                  <a:pt x="797918" y="1381910"/>
                  <a:pt x="776182" y="1354149"/>
                </a:cubicBezTo>
                <a:lnTo>
                  <a:pt x="13163" y="354015"/>
                </a:lnTo>
                <a:cubicBezTo>
                  <a:pt x="-8573" y="326254"/>
                  <a:pt x="-2577" y="286489"/>
                  <a:pt x="25156" y="264730"/>
                </a:cubicBezTo>
                <a:lnTo>
                  <a:pt x="354947" y="12633"/>
                </a:lnTo>
                <a:cubicBezTo>
                  <a:pt x="368064" y="2129"/>
                  <a:pt x="384741" y="-1623"/>
                  <a:pt x="400856" y="628"/>
                </a:cubicBezTo>
                <a:close/>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1" name="Freeform 76">
            <a:extLst>
              <a:ext uri="{FF2B5EF4-FFF2-40B4-BE49-F238E27FC236}">
                <a16:creationId xmlns:a16="http://schemas.microsoft.com/office/drawing/2014/main" xmlns="" id="{CCCA3169-248C-4CA6-970A-517789137C69}"/>
              </a:ext>
            </a:extLst>
          </p:cNvPr>
          <p:cNvSpPr>
            <a:spLocks noChangeArrowheads="1"/>
          </p:cNvSpPr>
          <p:nvPr/>
        </p:nvSpPr>
        <p:spPr bwMode="auto">
          <a:xfrm>
            <a:off x="4121238" y="2662454"/>
            <a:ext cx="423480" cy="293156"/>
          </a:xfrm>
          <a:custGeom>
            <a:avLst/>
            <a:gdLst>
              <a:gd name="connsiteX0" fmla="*/ 869451 w 1128985"/>
              <a:gd name="connsiteY0" fmla="*/ 0 h 781547"/>
              <a:gd name="connsiteX1" fmla="*/ 1128985 w 1128985"/>
              <a:gd name="connsiteY1" fmla="*/ 139041 h 781547"/>
              <a:gd name="connsiteX2" fmla="*/ 373635 w 1128985"/>
              <a:gd name="connsiteY2" fmla="*/ 541882 h 781547"/>
              <a:gd name="connsiteX3" fmla="*/ 372915 w 1128985"/>
              <a:gd name="connsiteY3" fmla="*/ 540159 h 781547"/>
              <a:gd name="connsiteX4" fmla="*/ 370525 w 1128985"/>
              <a:gd name="connsiteY4" fmla="*/ 541496 h 781547"/>
              <a:gd name="connsiteX5" fmla="*/ 308363 w 1128985"/>
              <a:gd name="connsiteY5" fmla="*/ 760258 h 781547"/>
              <a:gd name="connsiteX6" fmla="*/ 268576 w 1128985"/>
              <a:gd name="connsiteY6" fmla="*/ 736766 h 781547"/>
              <a:gd name="connsiteX7" fmla="*/ 260481 w 1128985"/>
              <a:gd name="connsiteY7" fmla="*/ 726745 h 781547"/>
              <a:gd name="connsiteX8" fmla="*/ 253821 w 1128985"/>
              <a:gd name="connsiteY8" fmla="*/ 732495 h 781547"/>
              <a:gd name="connsiteX9" fmla="*/ 178622 w 1128985"/>
              <a:gd name="connsiteY9" fmla="*/ 774827 h 781547"/>
              <a:gd name="connsiteX10" fmla="*/ 101002 w 1128985"/>
              <a:gd name="connsiteY10" fmla="*/ 716467 h 781547"/>
              <a:gd name="connsiteX11" fmla="*/ 101849 w 1128985"/>
              <a:gd name="connsiteY11" fmla="*/ 714699 h 781547"/>
              <a:gd name="connsiteX12" fmla="*/ 73316 w 1128985"/>
              <a:gd name="connsiteY12" fmla="*/ 690524 h 781547"/>
              <a:gd name="connsiteX13" fmla="*/ 67006 w 1128985"/>
              <a:gd name="connsiteY13" fmla="*/ 653281 h 781547"/>
              <a:gd name="connsiteX14" fmla="*/ 68249 w 1128985"/>
              <a:gd name="connsiteY14" fmla="*/ 650682 h 781547"/>
              <a:gd name="connsiteX15" fmla="*/ 41233 w 1128985"/>
              <a:gd name="connsiteY15" fmla="*/ 628118 h 781547"/>
              <a:gd name="connsiteX16" fmla="*/ 34504 w 1128985"/>
              <a:gd name="connsiteY16" fmla="*/ 590723 h 781547"/>
              <a:gd name="connsiteX17" fmla="*/ 35223 w 1128985"/>
              <a:gd name="connsiteY17" fmla="*/ 589185 h 781547"/>
              <a:gd name="connsiteX18" fmla="*/ 7701 w 1128985"/>
              <a:gd name="connsiteY18" fmla="*/ 566199 h 781547"/>
              <a:gd name="connsiteX19" fmla="*/ 27763 w 1128985"/>
              <a:gd name="connsiteY19" fmla="*/ 495873 h 781547"/>
              <a:gd name="connsiteX20" fmla="*/ 101664 w 1128985"/>
              <a:gd name="connsiteY20" fmla="*/ 455419 h 781547"/>
              <a:gd name="connsiteX21" fmla="*/ 112337 w 1128985"/>
              <a:gd name="connsiteY21" fmla="*/ 451846 h 781547"/>
              <a:gd name="connsiteX22" fmla="*/ 110643 w 1128985"/>
              <a:gd name="connsiteY22" fmla="*/ 448278 h 781547"/>
              <a:gd name="connsiteX23" fmla="*/ 305011 w 1128985"/>
              <a:gd name="connsiteY23" fmla="*/ 340504 h 78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8985" h="781547">
                <a:moveTo>
                  <a:pt x="869451" y="0"/>
                </a:moveTo>
                <a:lnTo>
                  <a:pt x="1128985" y="139041"/>
                </a:lnTo>
                <a:lnTo>
                  <a:pt x="373635" y="541882"/>
                </a:lnTo>
                <a:lnTo>
                  <a:pt x="372915" y="540159"/>
                </a:lnTo>
                <a:lnTo>
                  <a:pt x="370525" y="541496"/>
                </a:lnTo>
                <a:cubicBezTo>
                  <a:pt x="497845" y="675309"/>
                  <a:pt x="336074" y="744471"/>
                  <a:pt x="308363" y="760258"/>
                </a:cubicBezTo>
                <a:cubicBezTo>
                  <a:pt x="308363" y="760258"/>
                  <a:pt x="285520" y="750109"/>
                  <a:pt x="268576" y="736766"/>
                </a:cubicBezTo>
                <a:lnTo>
                  <a:pt x="260481" y="726745"/>
                </a:lnTo>
                <a:lnTo>
                  <a:pt x="253821" y="732495"/>
                </a:lnTo>
                <a:lnTo>
                  <a:pt x="178622" y="774827"/>
                </a:lnTo>
                <a:cubicBezTo>
                  <a:pt x="135194" y="798639"/>
                  <a:pt x="92613" y="754417"/>
                  <a:pt x="101002" y="716467"/>
                </a:cubicBezTo>
                <a:lnTo>
                  <a:pt x="101849" y="714699"/>
                </a:lnTo>
                <a:lnTo>
                  <a:pt x="73316" y="690524"/>
                </a:lnTo>
                <a:cubicBezTo>
                  <a:pt x="66831" y="679275"/>
                  <a:pt x="64148" y="665931"/>
                  <a:pt x="67006" y="653281"/>
                </a:cubicBezTo>
                <a:lnTo>
                  <a:pt x="68249" y="650682"/>
                </a:lnTo>
                <a:lnTo>
                  <a:pt x="41233" y="628118"/>
                </a:lnTo>
                <a:cubicBezTo>
                  <a:pt x="34586" y="616874"/>
                  <a:pt x="31734" y="603503"/>
                  <a:pt x="34504" y="590723"/>
                </a:cubicBezTo>
                <a:lnTo>
                  <a:pt x="35223" y="589185"/>
                </a:lnTo>
                <a:lnTo>
                  <a:pt x="7701" y="566199"/>
                </a:lnTo>
                <a:cubicBezTo>
                  <a:pt x="-5456" y="544006"/>
                  <a:pt x="-3590" y="513478"/>
                  <a:pt x="27763" y="495873"/>
                </a:cubicBezTo>
                <a:lnTo>
                  <a:pt x="101664" y="455419"/>
                </a:lnTo>
                <a:lnTo>
                  <a:pt x="112337" y="451846"/>
                </a:lnTo>
                <a:lnTo>
                  <a:pt x="110643" y="448278"/>
                </a:lnTo>
                <a:lnTo>
                  <a:pt x="305011" y="340504"/>
                </a:lnTo>
                <a:close/>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0" dirty="0">
              <a:latin typeface="+mj-lt"/>
            </a:endParaRPr>
          </a:p>
        </p:txBody>
      </p:sp>
      <p:sp>
        <p:nvSpPr>
          <p:cNvPr id="32" name="Freeform 21">
            <a:extLst>
              <a:ext uri="{FF2B5EF4-FFF2-40B4-BE49-F238E27FC236}">
                <a16:creationId xmlns:a16="http://schemas.microsoft.com/office/drawing/2014/main" xmlns="" id="{C3E3E238-64A9-4EA9-955B-AB5B4853A358}"/>
              </a:ext>
            </a:extLst>
          </p:cNvPr>
          <p:cNvSpPr>
            <a:spLocks noChangeArrowheads="1"/>
          </p:cNvSpPr>
          <p:nvPr/>
        </p:nvSpPr>
        <p:spPr bwMode="auto">
          <a:xfrm>
            <a:off x="4513971" y="2491183"/>
            <a:ext cx="601934" cy="783133"/>
          </a:xfrm>
          <a:custGeom>
            <a:avLst/>
            <a:gdLst>
              <a:gd name="T0" fmla="*/ 0 w 2138"/>
              <a:gd name="T1" fmla="*/ 2511 h 2783"/>
              <a:gd name="T2" fmla="*/ 0 w 2138"/>
              <a:gd name="T3" fmla="*/ 2511 h 2783"/>
              <a:gd name="T4" fmla="*/ 1037 w 2138"/>
              <a:gd name="T5" fmla="*/ 311 h 2783"/>
              <a:gd name="T6" fmla="*/ 1688 w 2138"/>
              <a:gd name="T7" fmla="*/ 0 h 2783"/>
              <a:gd name="T8" fmla="*/ 2137 w 2138"/>
              <a:gd name="T9" fmla="*/ 396 h 2783"/>
              <a:gd name="T10" fmla="*/ 2137 w 2138"/>
              <a:gd name="T11" fmla="*/ 396 h 2783"/>
              <a:gd name="T12" fmla="*/ 1916 w 2138"/>
              <a:gd name="T13" fmla="*/ 1261 h 2783"/>
              <a:gd name="T14" fmla="*/ 1181 w 2138"/>
              <a:gd name="T15" fmla="*/ 2782 h 2783"/>
              <a:gd name="T16" fmla="*/ 0 w 2138"/>
              <a:gd name="T17" fmla="*/ 2511 h 2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38" h="2783">
                <a:moveTo>
                  <a:pt x="0" y="2511"/>
                </a:moveTo>
                <a:lnTo>
                  <a:pt x="0" y="2511"/>
                </a:lnTo>
                <a:cubicBezTo>
                  <a:pt x="0" y="2511"/>
                  <a:pt x="778" y="571"/>
                  <a:pt x="1037" y="311"/>
                </a:cubicBezTo>
                <a:lnTo>
                  <a:pt x="1688" y="0"/>
                </a:lnTo>
                <a:lnTo>
                  <a:pt x="2137" y="396"/>
                </a:lnTo>
                <a:lnTo>
                  <a:pt x="2137" y="396"/>
                </a:lnTo>
                <a:cubicBezTo>
                  <a:pt x="2137" y="396"/>
                  <a:pt x="2011" y="1066"/>
                  <a:pt x="1916" y="1261"/>
                </a:cubicBezTo>
                <a:lnTo>
                  <a:pt x="1181" y="2782"/>
                </a:lnTo>
                <a:lnTo>
                  <a:pt x="0" y="2511"/>
                </a:lnTo>
              </a:path>
            </a:pathLst>
          </a:custGeom>
          <a:solidFill>
            <a:schemeClr val="bg1">
              <a:lumMod val="75000"/>
            </a:schemeClr>
          </a:solidFill>
          <a:ln>
            <a:noFill/>
          </a:ln>
          <a:effectLst/>
        </p:spPr>
        <p:txBody>
          <a:bodyPr wrap="none" anchor="ctr"/>
          <a:lstStyle/>
          <a:p>
            <a:endParaRPr lang="en-GB" sz="2450" dirty="0">
              <a:latin typeface="+mj-lt"/>
            </a:endParaRPr>
          </a:p>
        </p:txBody>
      </p:sp>
      <p:sp>
        <p:nvSpPr>
          <p:cNvPr id="33" name="Freeform 27">
            <a:extLst>
              <a:ext uri="{FF2B5EF4-FFF2-40B4-BE49-F238E27FC236}">
                <a16:creationId xmlns:a16="http://schemas.microsoft.com/office/drawing/2014/main" xmlns="" id="{CABCA2B8-BA3F-4C55-A5C5-54927E1CA8A1}"/>
              </a:ext>
            </a:extLst>
          </p:cNvPr>
          <p:cNvSpPr>
            <a:spLocks noChangeArrowheads="1"/>
          </p:cNvSpPr>
          <p:nvPr/>
        </p:nvSpPr>
        <p:spPr bwMode="auto">
          <a:xfrm>
            <a:off x="4971938" y="2050592"/>
            <a:ext cx="435627" cy="594487"/>
          </a:xfrm>
          <a:custGeom>
            <a:avLst/>
            <a:gdLst>
              <a:gd name="T0" fmla="*/ 6 w 1549"/>
              <a:gd name="T1" fmla="*/ 889 h 2112"/>
              <a:gd name="T2" fmla="*/ 6 w 1549"/>
              <a:gd name="T3" fmla="*/ 889 h 2112"/>
              <a:gd name="T4" fmla="*/ 137 w 1549"/>
              <a:gd name="T5" fmla="*/ 1347 h 2112"/>
              <a:gd name="T6" fmla="*/ 137 w 1549"/>
              <a:gd name="T7" fmla="*/ 1347 h 2112"/>
              <a:gd name="T8" fmla="*/ 64 w 1549"/>
              <a:gd name="T9" fmla="*/ 1562 h 2112"/>
              <a:gd name="T10" fmla="*/ 480 w 1549"/>
              <a:gd name="T11" fmla="*/ 2111 h 2112"/>
              <a:gd name="T12" fmla="*/ 618 w 1549"/>
              <a:gd name="T13" fmla="*/ 1707 h 2112"/>
              <a:gd name="T14" fmla="*/ 618 w 1549"/>
              <a:gd name="T15" fmla="*/ 1707 h 2112"/>
              <a:gd name="T16" fmla="*/ 799 w 1549"/>
              <a:gd name="T17" fmla="*/ 1819 h 2112"/>
              <a:gd name="T18" fmla="*/ 799 w 1549"/>
              <a:gd name="T19" fmla="*/ 1819 h 2112"/>
              <a:gd name="T20" fmla="*/ 996 w 1549"/>
              <a:gd name="T21" fmla="*/ 1811 h 2112"/>
              <a:gd name="T22" fmla="*/ 996 w 1549"/>
              <a:gd name="T23" fmla="*/ 1811 h 2112"/>
              <a:gd name="T24" fmla="*/ 1138 w 1549"/>
              <a:gd name="T25" fmla="*/ 1444 h 2112"/>
              <a:gd name="T26" fmla="*/ 1138 w 1549"/>
              <a:gd name="T27" fmla="*/ 1444 h 2112"/>
              <a:gd name="T28" fmla="*/ 1181 w 1549"/>
              <a:gd name="T29" fmla="*/ 1213 h 2112"/>
              <a:gd name="T30" fmla="*/ 1181 w 1549"/>
              <a:gd name="T31" fmla="*/ 1213 h 2112"/>
              <a:gd name="T32" fmla="*/ 6 w 1549"/>
              <a:gd name="T33" fmla="*/ 889 h 2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9" h="2112">
                <a:moveTo>
                  <a:pt x="6" y="889"/>
                </a:moveTo>
                <a:lnTo>
                  <a:pt x="6" y="889"/>
                </a:lnTo>
                <a:cubicBezTo>
                  <a:pt x="7" y="1108"/>
                  <a:pt x="138" y="1283"/>
                  <a:pt x="137" y="1347"/>
                </a:cubicBezTo>
                <a:lnTo>
                  <a:pt x="137" y="1347"/>
                </a:lnTo>
                <a:cubicBezTo>
                  <a:pt x="135" y="1386"/>
                  <a:pt x="64" y="1562"/>
                  <a:pt x="64" y="1562"/>
                </a:cubicBezTo>
                <a:lnTo>
                  <a:pt x="480" y="2111"/>
                </a:lnTo>
                <a:lnTo>
                  <a:pt x="618" y="1707"/>
                </a:lnTo>
                <a:lnTo>
                  <a:pt x="618" y="1707"/>
                </a:lnTo>
                <a:cubicBezTo>
                  <a:pt x="618" y="1707"/>
                  <a:pt x="715" y="1790"/>
                  <a:pt x="799" y="1819"/>
                </a:cubicBezTo>
                <a:lnTo>
                  <a:pt x="799" y="1819"/>
                </a:lnTo>
                <a:cubicBezTo>
                  <a:pt x="799" y="1819"/>
                  <a:pt x="944" y="1887"/>
                  <a:pt x="996" y="1811"/>
                </a:cubicBezTo>
                <a:lnTo>
                  <a:pt x="996" y="1811"/>
                </a:lnTo>
                <a:cubicBezTo>
                  <a:pt x="1064" y="1589"/>
                  <a:pt x="1084" y="1565"/>
                  <a:pt x="1138" y="1444"/>
                </a:cubicBezTo>
                <a:lnTo>
                  <a:pt x="1138" y="1444"/>
                </a:lnTo>
                <a:cubicBezTo>
                  <a:pt x="1259" y="1427"/>
                  <a:pt x="1293" y="1359"/>
                  <a:pt x="1181" y="1213"/>
                </a:cubicBezTo>
                <a:lnTo>
                  <a:pt x="1181" y="1213"/>
                </a:lnTo>
                <a:cubicBezTo>
                  <a:pt x="1548" y="238"/>
                  <a:pt x="0" y="0"/>
                  <a:pt x="6" y="889"/>
                </a:cubicBez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4" name="Freeform 28">
            <a:extLst>
              <a:ext uri="{FF2B5EF4-FFF2-40B4-BE49-F238E27FC236}">
                <a16:creationId xmlns:a16="http://schemas.microsoft.com/office/drawing/2014/main" xmlns="" id="{5963071C-4C32-473D-B522-29455CF28114}"/>
              </a:ext>
            </a:extLst>
          </p:cNvPr>
          <p:cNvSpPr>
            <a:spLocks noChangeArrowheads="1"/>
          </p:cNvSpPr>
          <p:nvPr/>
        </p:nvSpPr>
        <p:spPr bwMode="auto">
          <a:xfrm>
            <a:off x="3866118" y="3352505"/>
            <a:ext cx="909727" cy="816644"/>
          </a:xfrm>
          <a:custGeom>
            <a:avLst/>
            <a:gdLst>
              <a:gd name="T0" fmla="*/ 2265 w 3234"/>
              <a:gd name="T1" fmla="*/ 0 h 2903"/>
              <a:gd name="T2" fmla="*/ 2265 w 3234"/>
              <a:gd name="T3" fmla="*/ 0 h 2903"/>
              <a:gd name="T4" fmla="*/ 2010 w 3234"/>
              <a:gd name="T5" fmla="*/ 1351 h 2903"/>
              <a:gd name="T6" fmla="*/ 0 w 3234"/>
              <a:gd name="T7" fmla="*/ 2433 h 2903"/>
              <a:gd name="T8" fmla="*/ 145 w 3234"/>
              <a:gd name="T9" fmla="*/ 2902 h 2903"/>
              <a:gd name="T10" fmla="*/ 145 w 3234"/>
              <a:gd name="T11" fmla="*/ 2902 h 2903"/>
              <a:gd name="T12" fmla="*/ 2933 w 3234"/>
              <a:gd name="T13" fmla="*/ 1681 h 2903"/>
              <a:gd name="T14" fmla="*/ 3233 w 3234"/>
              <a:gd name="T15" fmla="*/ 265 h 2903"/>
              <a:gd name="T16" fmla="*/ 2265 w 3234"/>
              <a:gd name="T17" fmla="*/ 0 h 2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34" h="2903">
                <a:moveTo>
                  <a:pt x="2265" y="0"/>
                </a:moveTo>
                <a:lnTo>
                  <a:pt x="2265" y="0"/>
                </a:lnTo>
                <a:cubicBezTo>
                  <a:pt x="2288" y="50"/>
                  <a:pt x="2010" y="1351"/>
                  <a:pt x="2010" y="1351"/>
                </a:cubicBezTo>
                <a:lnTo>
                  <a:pt x="0" y="2433"/>
                </a:lnTo>
                <a:lnTo>
                  <a:pt x="145" y="2902"/>
                </a:lnTo>
                <a:lnTo>
                  <a:pt x="145" y="2902"/>
                </a:lnTo>
                <a:cubicBezTo>
                  <a:pt x="145" y="2902"/>
                  <a:pt x="2750" y="1882"/>
                  <a:pt x="2933" y="1681"/>
                </a:cubicBezTo>
                <a:lnTo>
                  <a:pt x="3233" y="265"/>
                </a:lnTo>
                <a:lnTo>
                  <a:pt x="2265" y="0"/>
                </a:lnTo>
              </a:path>
            </a:pathLst>
          </a:custGeom>
          <a:solidFill>
            <a:schemeClr val="bg1">
              <a:lumMod val="50000"/>
            </a:schemeClr>
          </a:solidFill>
          <a:ln>
            <a:noFill/>
          </a:ln>
          <a:effectLst/>
        </p:spPr>
        <p:txBody>
          <a:bodyPr wrap="none" anchor="ctr"/>
          <a:lstStyle/>
          <a:p>
            <a:endParaRPr lang="en-GB" sz="2450" dirty="0">
              <a:latin typeface="+mj-lt"/>
            </a:endParaRPr>
          </a:p>
        </p:txBody>
      </p:sp>
      <p:sp>
        <p:nvSpPr>
          <p:cNvPr id="35" name="Freeform 29">
            <a:extLst>
              <a:ext uri="{FF2B5EF4-FFF2-40B4-BE49-F238E27FC236}">
                <a16:creationId xmlns:a16="http://schemas.microsoft.com/office/drawing/2014/main" xmlns="" id="{9D92A27F-C22A-4FED-9141-4F169297B2A0}"/>
              </a:ext>
            </a:extLst>
          </p:cNvPr>
          <p:cNvSpPr>
            <a:spLocks noChangeArrowheads="1"/>
          </p:cNvSpPr>
          <p:nvPr/>
        </p:nvSpPr>
        <p:spPr bwMode="auto">
          <a:xfrm>
            <a:off x="4366281" y="2523450"/>
            <a:ext cx="723562" cy="278006"/>
          </a:xfrm>
          <a:custGeom>
            <a:avLst/>
            <a:gdLst>
              <a:gd name="T0" fmla="*/ 0 w 2569"/>
              <a:gd name="T1" fmla="*/ 609 h 986"/>
              <a:gd name="T2" fmla="*/ 613 w 2569"/>
              <a:gd name="T3" fmla="*/ 171 h 986"/>
              <a:gd name="T4" fmla="*/ 613 w 2569"/>
              <a:gd name="T5" fmla="*/ 171 h 986"/>
              <a:gd name="T6" fmla="*/ 1461 w 2569"/>
              <a:gd name="T7" fmla="*/ 80 h 986"/>
              <a:gd name="T8" fmla="*/ 1461 w 2569"/>
              <a:gd name="T9" fmla="*/ 80 h 986"/>
              <a:gd name="T10" fmla="*/ 2171 w 2569"/>
              <a:gd name="T11" fmla="*/ 690 h 986"/>
              <a:gd name="T12" fmla="*/ 748 w 2569"/>
              <a:gd name="T13" fmla="*/ 708 h 986"/>
              <a:gd name="T14" fmla="*/ 211 w 2569"/>
              <a:gd name="T15" fmla="*/ 985 h 986"/>
              <a:gd name="T16" fmla="*/ 0 w 2569"/>
              <a:gd name="T17" fmla="*/ 609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9" h="986">
                <a:moveTo>
                  <a:pt x="0" y="609"/>
                </a:moveTo>
                <a:lnTo>
                  <a:pt x="613" y="171"/>
                </a:lnTo>
                <a:lnTo>
                  <a:pt x="613" y="171"/>
                </a:lnTo>
                <a:cubicBezTo>
                  <a:pt x="613" y="171"/>
                  <a:pt x="1046" y="110"/>
                  <a:pt x="1461" y="80"/>
                </a:cubicBezTo>
                <a:lnTo>
                  <a:pt x="1461" y="80"/>
                </a:lnTo>
                <a:cubicBezTo>
                  <a:pt x="2568" y="0"/>
                  <a:pt x="2360" y="688"/>
                  <a:pt x="2171" y="690"/>
                </a:cubicBezTo>
                <a:lnTo>
                  <a:pt x="748" y="708"/>
                </a:lnTo>
                <a:lnTo>
                  <a:pt x="211" y="985"/>
                </a:lnTo>
                <a:lnTo>
                  <a:pt x="0" y="609"/>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6" name="Freeform 30">
            <a:extLst>
              <a:ext uri="{FF2B5EF4-FFF2-40B4-BE49-F238E27FC236}">
                <a16:creationId xmlns:a16="http://schemas.microsoft.com/office/drawing/2014/main" xmlns="" id="{1E6C21F9-CDDD-494F-A09E-4CD85AF5EF9E}"/>
              </a:ext>
            </a:extLst>
          </p:cNvPr>
          <p:cNvSpPr>
            <a:spLocks noChangeArrowheads="1"/>
          </p:cNvSpPr>
          <p:nvPr/>
        </p:nvSpPr>
        <p:spPr bwMode="auto">
          <a:xfrm>
            <a:off x="4932222" y="2101478"/>
            <a:ext cx="423216" cy="328891"/>
          </a:xfrm>
          <a:custGeom>
            <a:avLst/>
            <a:gdLst>
              <a:gd name="T0" fmla="*/ 1443 w 1503"/>
              <a:gd name="T1" fmla="*/ 766 h 1167"/>
              <a:gd name="T2" fmla="*/ 883 w 1503"/>
              <a:gd name="T3" fmla="*/ 649 h 1167"/>
              <a:gd name="T4" fmla="*/ 883 w 1503"/>
              <a:gd name="T5" fmla="*/ 649 h 1167"/>
              <a:gd name="T6" fmla="*/ 275 w 1503"/>
              <a:gd name="T7" fmla="*/ 1166 h 1167"/>
              <a:gd name="T8" fmla="*/ 275 w 1503"/>
              <a:gd name="T9" fmla="*/ 1166 h 1167"/>
              <a:gd name="T10" fmla="*/ 236 w 1503"/>
              <a:gd name="T11" fmla="*/ 380 h 1167"/>
              <a:gd name="T12" fmla="*/ 236 w 1503"/>
              <a:gd name="T13" fmla="*/ 380 h 1167"/>
              <a:gd name="T14" fmla="*/ 940 w 1503"/>
              <a:gd name="T15" fmla="*/ 101 h 1167"/>
              <a:gd name="T16" fmla="*/ 880 w 1503"/>
              <a:gd name="T17" fmla="*/ 171 h 1167"/>
              <a:gd name="T18" fmla="*/ 880 w 1503"/>
              <a:gd name="T19" fmla="*/ 171 h 1167"/>
              <a:gd name="T20" fmla="*/ 1176 w 1503"/>
              <a:gd name="T21" fmla="*/ 210 h 1167"/>
              <a:gd name="T22" fmla="*/ 1176 w 1503"/>
              <a:gd name="T23" fmla="*/ 210 h 1167"/>
              <a:gd name="T24" fmla="*/ 1443 w 1503"/>
              <a:gd name="T25" fmla="*/ 766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3" h="1167">
                <a:moveTo>
                  <a:pt x="1443" y="766"/>
                </a:moveTo>
                <a:lnTo>
                  <a:pt x="883" y="649"/>
                </a:lnTo>
                <a:lnTo>
                  <a:pt x="883" y="649"/>
                </a:lnTo>
                <a:cubicBezTo>
                  <a:pt x="883" y="649"/>
                  <a:pt x="678" y="971"/>
                  <a:pt x="275" y="1166"/>
                </a:cubicBezTo>
                <a:lnTo>
                  <a:pt x="275" y="1166"/>
                </a:lnTo>
                <a:cubicBezTo>
                  <a:pt x="275" y="1166"/>
                  <a:pt x="0" y="799"/>
                  <a:pt x="236" y="380"/>
                </a:cubicBezTo>
                <a:lnTo>
                  <a:pt x="236" y="380"/>
                </a:lnTo>
                <a:cubicBezTo>
                  <a:pt x="236" y="380"/>
                  <a:pt x="434" y="0"/>
                  <a:pt x="940" y="101"/>
                </a:cubicBezTo>
                <a:lnTo>
                  <a:pt x="880" y="171"/>
                </a:lnTo>
                <a:lnTo>
                  <a:pt x="880" y="171"/>
                </a:lnTo>
                <a:cubicBezTo>
                  <a:pt x="880" y="171"/>
                  <a:pt x="867" y="64"/>
                  <a:pt x="1176" y="210"/>
                </a:cubicBezTo>
                <a:lnTo>
                  <a:pt x="1176" y="210"/>
                </a:lnTo>
                <a:cubicBezTo>
                  <a:pt x="1176" y="210"/>
                  <a:pt x="1502" y="386"/>
                  <a:pt x="1443" y="766"/>
                </a:cubicBezTo>
              </a:path>
            </a:pathLst>
          </a:custGeom>
          <a:solidFill>
            <a:srgbClr val="3A3A3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7" name="Freeform 31">
            <a:extLst>
              <a:ext uri="{FF2B5EF4-FFF2-40B4-BE49-F238E27FC236}">
                <a16:creationId xmlns:a16="http://schemas.microsoft.com/office/drawing/2014/main" xmlns="" id="{AB961CA3-2F12-4690-90CA-663ABD7F7840}"/>
              </a:ext>
            </a:extLst>
          </p:cNvPr>
          <p:cNvSpPr>
            <a:spLocks noChangeArrowheads="1"/>
          </p:cNvSpPr>
          <p:nvPr/>
        </p:nvSpPr>
        <p:spPr bwMode="auto">
          <a:xfrm>
            <a:off x="5048886" y="2312464"/>
            <a:ext cx="76948" cy="95564"/>
          </a:xfrm>
          <a:custGeom>
            <a:avLst/>
            <a:gdLst>
              <a:gd name="T0" fmla="*/ 273 w 274"/>
              <a:gd name="T1" fmla="*/ 140 h 340"/>
              <a:gd name="T2" fmla="*/ 273 w 274"/>
              <a:gd name="T3" fmla="*/ 140 h 340"/>
              <a:gd name="T4" fmla="*/ 135 w 274"/>
              <a:gd name="T5" fmla="*/ 3 h 340"/>
              <a:gd name="T6" fmla="*/ 135 w 274"/>
              <a:gd name="T7" fmla="*/ 3 h 340"/>
              <a:gd name="T8" fmla="*/ 176 w 274"/>
              <a:gd name="T9" fmla="*/ 339 h 340"/>
              <a:gd name="T10" fmla="*/ 273 w 274"/>
              <a:gd name="T11" fmla="*/ 140 h 340"/>
            </a:gdLst>
            <a:ahLst/>
            <a:cxnLst>
              <a:cxn ang="0">
                <a:pos x="T0" y="T1"/>
              </a:cxn>
              <a:cxn ang="0">
                <a:pos x="T2" y="T3"/>
              </a:cxn>
              <a:cxn ang="0">
                <a:pos x="T4" y="T5"/>
              </a:cxn>
              <a:cxn ang="0">
                <a:pos x="T6" y="T7"/>
              </a:cxn>
              <a:cxn ang="0">
                <a:pos x="T8" y="T9"/>
              </a:cxn>
              <a:cxn ang="0">
                <a:pos x="T10" y="T11"/>
              </a:cxn>
            </a:cxnLst>
            <a:rect l="0" t="0" r="r" b="b"/>
            <a:pathLst>
              <a:path w="274" h="340">
                <a:moveTo>
                  <a:pt x="273" y="140"/>
                </a:moveTo>
                <a:lnTo>
                  <a:pt x="273" y="140"/>
                </a:lnTo>
                <a:cubicBezTo>
                  <a:pt x="273" y="140"/>
                  <a:pt x="239" y="6"/>
                  <a:pt x="135" y="3"/>
                </a:cubicBezTo>
                <a:lnTo>
                  <a:pt x="135" y="3"/>
                </a:lnTo>
                <a:cubicBezTo>
                  <a:pt x="0" y="0"/>
                  <a:pt x="105" y="335"/>
                  <a:pt x="176" y="339"/>
                </a:cubicBezTo>
                <a:lnTo>
                  <a:pt x="273" y="140"/>
                </a:lnTo>
              </a:path>
            </a:pathLst>
          </a:custGeom>
          <a:solidFill>
            <a:srgbClr val="F49D5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38" name="Freeform 32">
            <a:extLst>
              <a:ext uri="{FF2B5EF4-FFF2-40B4-BE49-F238E27FC236}">
                <a16:creationId xmlns:a16="http://schemas.microsoft.com/office/drawing/2014/main" xmlns="" id="{A5DE87DA-34E3-4069-A4D0-D9C6BD15B167}"/>
              </a:ext>
            </a:extLst>
          </p:cNvPr>
          <p:cNvSpPr>
            <a:spLocks noChangeArrowheads="1"/>
          </p:cNvSpPr>
          <p:nvPr/>
        </p:nvSpPr>
        <p:spPr bwMode="auto">
          <a:xfrm>
            <a:off x="5050129" y="2570612"/>
            <a:ext cx="55849" cy="193612"/>
          </a:xfrm>
          <a:custGeom>
            <a:avLst/>
            <a:gdLst>
              <a:gd name="T0" fmla="*/ 0 w 199"/>
              <a:gd name="T1" fmla="*/ 0 h 689"/>
              <a:gd name="T2" fmla="*/ 102 w 199"/>
              <a:gd name="T3" fmla="*/ 688 h 689"/>
              <a:gd name="T4" fmla="*/ 198 w 199"/>
              <a:gd name="T5" fmla="*/ 263 h 689"/>
              <a:gd name="T6" fmla="*/ 0 w 199"/>
              <a:gd name="T7" fmla="*/ 0 h 689"/>
            </a:gdLst>
            <a:ahLst/>
            <a:cxnLst>
              <a:cxn ang="0">
                <a:pos x="T0" y="T1"/>
              </a:cxn>
              <a:cxn ang="0">
                <a:pos x="T2" y="T3"/>
              </a:cxn>
              <a:cxn ang="0">
                <a:pos x="T4" y="T5"/>
              </a:cxn>
              <a:cxn ang="0">
                <a:pos x="T6" y="T7"/>
              </a:cxn>
            </a:cxnLst>
            <a:rect l="0" t="0" r="r" b="b"/>
            <a:pathLst>
              <a:path w="199" h="689">
                <a:moveTo>
                  <a:pt x="0" y="0"/>
                </a:moveTo>
                <a:lnTo>
                  <a:pt x="102" y="688"/>
                </a:lnTo>
                <a:lnTo>
                  <a:pt x="198" y="263"/>
                </a:lnTo>
                <a:lnTo>
                  <a:pt x="0" y="0"/>
                </a:lnTo>
              </a:path>
            </a:pathLst>
          </a:custGeom>
          <a:solidFill>
            <a:schemeClr val="bg1">
              <a:lumMod val="95000"/>
            </a:schemeClr>
          </a:solidFill>
          <a:ln>
            <a:noFill/>
          </a:ln>
          <a:effectLst/>
        </p:spPr>
        <p:txBody>
          <a:bodyPr wrap="none" anchor="ctr"/>
          <a:lstStyle/>
          <a:p>
            <a:endParaRPr lang="en-GB" sz="2450" dirty="0">
              <a:latin typeface="+mj-lt"/>
            </a:endParaRPr>
          </a:p>
        </p:txBody>
      </p:sp>
      <p:sp>
        <p:nvSpPr>
          <p:cNvPr id="39" name="Freeform 33">
            <a:extLst>
              <a:ext uri="{FF2B5EF4-FFF2-40B4-BE49-F238E27FC236}">
                <a16:creationId xmlns:a16="http://schemas.microsoft.com/office/drawing/2014/main" xmlns="" id="{24E3F3B0-F530-4604-99B8-0D1D063F9BB5}"/>
              </a:ext>
            </a:extLst>
          </p:cNvPr>
          <p:cNvSpPr>
            <a:spLocks noChangeArrowheads="1"/>
          </p:cNvSpPr>
          <p:nvPr/>
        </p:nvSpPr>
        <p:spPr bwMode="auto">
          <a:xfrm>
            <a:off x="5232569" y="4031386"/>
            <a:ext cx="328892" cy="146450"/>
          </a:xfrm>
          <a:custGeom>
            <a:avLst/>
            <a:gdLst>
              <a:gd name="T0" fmla="*/ 5 w 1167"/>
              <a:gd name="T1" fmla="*/ 161 h 521"/>
              <a:gd name="T2" fmla="*/ 5 w 1167"/>
              <a:gd name="T3" fmla="*/ 161 h 521"/>
              <a:gd name="T4" fmla="*/ 149 w 1167"/>
              <a:gd name="T5" fmla="*/ 520 h 521"/>
              <a:gd name="T6" fmla="*/ 1148 w 1167"/>
              <a:gd name="T7" fmla="*/ 230 h 521"/>
              <a:gd name="T8" fmla="*/ 1148 w 1167"/>
              <a:gd name="T9" fmla="*/ 230 h 521"/>
              <a:gd name="T10" fmla="*/ 913 w 1167"/>
              <a:gd name="T11" fmla="*/ 54 h 521"/>
              <a:gd name="T12" fmla="*/ 460 w 1167"/>
              <a:gd name="T13" fmla="*/ 94 h 521"/>
              <a:gd name="T14" fmla="*/ 336 w 1167"/>
              <a:gd name="T15" fmla="*/ 42 h 521"/>
              <a:gd name="T16" fmla="*/ 5 w 1167"/>
              <a:gd name="T17" fmla="*/ 16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7" h="521">
                <a:moveTo>
                  <a:pt x="5" y="161"/>
                </a:moveTo>
                <a:lnTo>
                  <a:pt x="5" y="161"/>
                </a:lnTo>
                <a:cubicBezTo>
                  <a:pt x="5" y="161"/>
                  <a:pt x="0" y="369"/>
                  <a:pt x="149" y="520"/>
                </a:cubicBezTo>
                <a:lnTo>
                  <a:pt x="1148" y="230"/>
                </a:lnTo>
                <a:lnTo>
                  <a:pt x="1148" y="230"/>
                </a:lnTo>
                <a:cubicBezTo>
                  <a:pt x="1148" y="230"/>
                  <a:pt x="1166" y="0"/>
                  <a:pt x="913" y="54"/>
                </a:cubicBezTo>
                <a:lnTo>
                  <a:pt x="460" y="94"/>
                </a:lnTo>
                <a:lnTo>
                  <a:pt x="336" y="42"/>
                </a:lnTo>
                <a:lnTo>
                  <a:pt x="5" y="161"/>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0" name="Freeform 34">
            <a:extLst>
              <a:ext uri="{FF2B5EF4-FFF2-40B4-BE49-F238E27FC236}">
                <a16:creationId xmlns:a16="http://schemas.microsoft.com/office/drawing/2014/main" xmlns="" id="{A23E8C3C-3E9F-46C2-B996-3D4A357B57DC}"/>
              </a:ext>
            </a:extLst>
          </p:cNvPr>
          <p:cNvSpPr>
            <a:spLocks noChangeArrowheads="1"/>
          </p:cNvSpPr>
          <p:nvPr/>
        </p:nvSpPr>
        <p:spPr bwMode="auto">
          <a:xfrm>
            <a:off x="3765588" y="4057450"/>
            <a:ext cx="157620" cy="328891"/>
          </a:xfrm>
          <a:custGeom>
            <a:avLst/>
            <a:gdLst>
              <a:gd name="T0" fmla="*/ 380 w 559"/>
              <a:gd name="T1" fmla="*/ 0 h 1169"/>
              <a:gd name="T2" fmla="*/ 380 w 559"/>
              <a:gd name="T3" fmla="*/ 0 h 1169"/>
              <a:gd name="T4" fmla="*/ 0 w 559"/>
              <a:gd name="T5" fmla="*/ 172 h 1169"/>
              <a:gd name="T6" fmla="*/ 327 w 559"/>
              <a:gd name="T7" fmla="*/ 1159 h 1169"/>
              <a:gd name="T8" fmla="*/ 327 w 559"/>
              <a:gd name="T9" fmla="*/ 1159 h 1169"/>
              <a:gd name="T10" fmla="*/ 494 w 559"/>
              <a:gd name="T11" fmla="*/ 918 h 1169"/>
              <a:gd name="T12" fmla="*/ 438 w 559"/>
              <a:gd name="T13" fmla="*/ 467 h 1169"/>
              <a:gd name="T14" fmla="*/ 485 w 559"/>
              <a:gd name="T15" fmla="*/ 340 h 1169"/>
              <a:gd name="T16" fmla="*/ 380 w 559"/>
              <a:gd name="T17" fmla="*/ 0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1169">
                <a:moveTo>
                  <a:pt x="380" y="0"/>
                </a:moveTo>
                <a:lnTo>
                  <a:pt x="380" y="0"/>
                </a:lnTo>
                <a:cubicBezTo>
                  <a:pt x="380" y="0"/>
                  <a:pt x="146" y="17"/>
                  <a:pt x="0" y="172"/>
                </a:cubicBezTo>
                <a:lnTo>
                  <a:pt x="327" y="1159"/>
                </a:lnTo>
                <a:lnTo>
                  <a:pt x="327" y="1159"/>
                </a:lnTo>
                <a:cubicBezTo>
                  <a:pt x="327" y="1159"/>
                  <a:pt x="558" y="1168"/>
                  <a:pt x="494" y="918"/>
                </a:cubicBezTo>
                <a:lnTo>
                  <a:pt x="438" y="467"/>
                </a:lnTo>
                <a:lnTo>
                  <a:pt x="485" y="340"/>
                </a:lnTo>
                <a:lnTo>
                  <a:pt x="380" y="0"/>
                </a:lnTo>
              </a:path>
            </a:pathLst>
          </a:custGeom>
          <a:solidFill>
            <a:schemeClr val="tx2">
              <a:lumMod val="95000"/>
              <a:lumOff val="5000"/>
            </a:schemeClr>
          </a:solidFill>
          <a:ln>
            <a:noFill/>
          </a:ln>
          <a:effectLst/>
        </p:spPr>
        <p:txBody>
          <a:bodyPr wrap="none" anchor="ctr"/>
          <a:lstStyle/>
          <a:p>
            <a:endParaRPr lang="en-GB" sz="2450" dirty="0">
              <a:latin typeface="+mj-lt"/>
            </a:endParaRPr>
          </a:p>
        </p:txBody>
      </p:sp>
      <p:sp>
        <p:nvSpPr>
          <p:cNvPr id="41" name="Freeform 35">
            <a:extLst>
              <a:ext uri="{FF2B5EF4-FFF2-40B4-BE49-F238E27FC236}">
                <a16:creationId xmlns:a16="http://schemas.microsoft.com/office/drawing/2014/main" xmlns="" id="{60E0FF1D-C456-4E92-AB74-0806D40ACF45}"/>
              </a:ext>
            </a:extLst>
          </p:cNvPr>
          <p:cNvSpPr>
            <a:spLocks noChangeArrowheads="1"/>
          </p:cNvSpPr>
          <p:nvPr/>
        </p:nvSpPr>
        <p:spPr bwMode="auto">
          <a:xfrm>
            <a:off x="5078673" y="2609087"/>
            <a:ext cx="34751" cy="64537"/>
          </a:xfrm>
          <a:custGeom>
            <a:avLst/>
            <a:gdLst>
              <a:gd name="T0" fmla="*/ 0 w 122"/>
              <a:gd name="T1" fmla="*/ 0 h 230"/>
              <a:gd name="T2" fmla="*/ 121 w 122"/>
              <a:gd name="T3" fmla="*/ 67 h 230"/>
              <a:gd name="T4" fmla="*/ 86 w 122"/>
              <a:gd name="T5" fmla="*/ 229 h 230"/>
              <a:gd name="T6" fmla="*/ 0 w 122"/>
              <a:gd name="T7" fmla="*/ 0 h 230"/>
            </a:gdLst>
            <a:ahLst/>
            <a:cxnLst>
              <a:cxn ang="0">
                <a:pos x="T0" y="T1"/>
              </a:cxn>
              <a:cxn ang="0">
                <a:pos x="T2" y="T3"/>
              </a:cxn>
              <a:cxn ang="0">
                <a:pos x="T4" y="T5"/>
              </a:cxn>
              <a:cxn ang="0">
                <a:pos x="T6" y="T7"/>
              </a:cxn>
            </a:cxnLst>
            <a:rect l="0" t="0" r="r" b="b"/>
            <a:pathLst>
              <a:path w="122" h="230">
                <a:moveTo>
                  <a:pt x="0" y="0"/>
                </a:moveTo>
                <a:lnTo>
                  <a:pt x="121" y="67"/>
                </a:lnTo>
                <a:lnTo>
                  <a:pt x="86" y="229"/>
                </a:lnTo>
                <a:lnTo>
                  <a:pt x="0" y="0"/>
                </a:lnTo>
              </a:path>
            </a:pathLst>
          </a:custGeom>
          <a:solidFill>
            <a:schemeClr val="accent1"/>
          </a:solidFill>
          <a:ln>
            <a:noFill/>
          </a:ln>
          <a:effectLst/>
        </p:spPr>
        <p:txBody>
          <a:bodyPr wrap="none" anchor="ctr"/>
          <a:lstStyle/>
          <a:p>
            <a:endParaRPr lang="en-GB" sz="2450" dirty="0">
              <a:latin typeface="+mj-lt"/>
            </a:endParaRPr>
          </a:p>
        </p:txBody>
      </p:sp>
      <p:sp>
        <p:nvSpPr>
          <p:cNvPr id="42" name="Freeform 36">
            <a:extLst>
              <a:ext uri="{FF2B5EF4-FFF2-40B4-BE49-F238E27FC236}">
                <a16:creationId xmlns:a16="http://schemas.microsoft.com/office/drawing/2014/main" xmlns="" id="{7031CA6F-4238-407A-AABC-DF7A39E1344D}"/>
              </a:ext>
            </a:extLst>
          </p:cNvPr>
          <p:cNvSpPr>
            <a:spLocks noChangeArrowheads="1"/>
          </p:cNvSpPr>
          <p:nvPr/>
        </p:nvSpPr>
        <p:spPr bwMode="auto">
          <a:xfrm>
            <a:off x="5005447" y="2643838"/>
            <a:ext cx="96806" cy="335097"/>
          </a:xfrm>
          <a:custGeom>
            <a:avLst/>
            <a:gdLst>
              <a:gd name="T0" fmla="*/ 308 w 346"/>
              <a:gd name="T1" fmla="*/ 0 h 1190"/>
              <a:gd name="T2" fmla="*/ 0 w 346"/>
              <a:gd name="T3" fmla="*/ 935 h 1190"/>
              <a:gd name="T4" fmla="*/ 83 w 346"/>
              <a:gd name="T5" fmla="*/ 1189 h 1190"/>
              <a:gd name="T6" fmla="*/ 215 w 346"/>
              <a:gd name="T7" fmla="*/ 1076 h 1190"/>
              <a:gd name="T8" fmla="*/ 345 w 346"/>
              <a:gd name="T9" fmla="*/ 102 h 1190"/>
              <a:gd name="T10" fmla="*/ 308 w 346"/>
              <a:gd name="T11" fmla="*/ 0 h 1190"/>
            </a:gdLst>
            <a:ahLst/>
            <a:cxnLst>
              <a:cxn ang="0">
                <a:pos x="T0" y="T1"/>
              </a:cxn>
              <a:cxn ang="0">
                <a:pos x="T2" y="T3"/>
              </a:cxn>
              <a:cxn ang="0">
                <a:pos x="T4" y="T5"/>
              </a:cxn>
              <a:cxn ang="0">
                <a:pos x="T6" y="T7"/>
              </a:cxn>
              <a:cxn ang="0">
                <a:pos x="T8" y="T9"/>
              </a:cxn>
              <a:cxn ang="0">
                <a:pos x="T10" y="T11"/>
              </a:cxn>
            </a:cxnLst>
            <a:rect l="0" t="0" r="r" b="b"/>
            <a:pathLst>
              <a:path w="346" h="1190">
                <a:moveTo>
                  <a:pt x="308" y="0"/>
                </a:moveTo>
                <a:lnTo>
                  <a:pt x="0" y="935"/>
                </a:lnTo>
                <a:lnTo>
                  <a:pt x="83" y="1189"/>
                </a:lnTo>
                <a:lnTo>
                  <a:pt x="215" y="1076"/>
                </a:lnTo>
                <a:lnTo>
                  <a:pt x="345" y="102"/>
                </a:lnTo>
                <a:lnTo>
                  <a:pt x="308" y="0"/>
                </a:lnTo>
              </a:path>
            </a:pathLst>
          </a:custGeom>
          <a:solidFill>
            <a:schemeClr val="accent1"/>
          </a:solidFill>
          <a:ln>
            <a:noFill/>
          </a:ln>
          <a:effectLst/>
        </p:spPr>
        <p:txBody>
          <a:bodyPr wrap="none" anchor="ctr"/>
          <a:lstStyle/>
          <a:p>
            <a:endParaRPr lang="en-GB" sz="2450" dirty="0">
              <a:latin typeface="+mj-lt"/>
            </a:endParaRPr>
          </a:p>
        </p:txBody>
      </p:sp>
      <p:sp>
        <p:nvSpPr>
          <p:cNvPr id="43" name="Freeform 37">
            <a:extLst>
              <a:ext uri="{FF2B5EF4-FFF2-40B4-BE49-F238E27FC236}">
                <a16:creationId xmlns:a16="http://schemas.microsoft.com/office/drawing/2014/main" xmlns="" id="{E0A4E61F-6DB7-4A39-802B-6211DDF9A02C}"/>
              </a:ext>
            </a:extLst>
          </p:cNvPr>
          <p:cNvSpPr>
            <a:spLocks noChangeArrowheads="1"/>
          </p:cNvSpPr>
          <p:nvPr/>
        </p:nvSpPr>
        <p:spPr bwMode="auto">
          <a:xfrm>
            <a:off x="4480461" y="3197368"/>
            <a:ext cx="889870" cy="897315"/>
          </a:xfrm>
          <a:custGeom>
            <a:avLst/>
            <a:gdLst>
              <a:gd name="T0" fmla="*/ 118 w 3160"/>
              <a:gd name="T1" fmla="*/ 0 h 3189"/>
              <a:gd name="T2" fmla="*/ 118 w 3160"/>
              <a:gd name="T3" fmla="*/ 0 h 3189"/>
              <a:gd name="T4" fmla="*/ 209 w 3160"/>
              <a:gd name="T5" fmla="*/ 747 h 3189"/>
              <a:gd name="T6" fmla="*/ 209 w 3160"/>
              <a:gd name="T7" fmla="*/ 747 h 3189"/>
              <a:gd name="T8" fmla="*/ 2340 w 3160"/>
              <a:gd name="T9" fmla="*/ 853 h 3189"/>
              <a:gd name="T10" fmla="*/ 2340 w 3160"/>
              <a:gd name="T11" fmla="*/ 853 h 3189"/>
              <a:gd name="T12" fmla="*/ 2604 w 3160"/>
              <a:gd name="T13" fmla="*/ 3188 h 3189"/>
              <a:gd name="T14" fmla="*/ 3159 w 3160"/>
              <a:gd name="T15" fmla="*/ 3006 h 3189"/>
              <a:gd name="T16" fmla="*/ 3159 w 3160"/>
              <a:gd name="T17" fmla="*/ 3006 h 3189"/>
              <a:gd name="T18" fmla="*/ 2861 w 3160"/>
              <a:gd name="T19" fmla="*/ 101 h 3189"/>
              <a:gd name="T20" fmla="*/ 118 w 3160"/>
              <a:gd name="T21" fmla="*/ 0 h 3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0" h="3189">
                <a:moveTo>
                  <a:pt x="118" y="0"/>
                </a:moveTo>
                <a:lnTo>
                  <a:pt x="118" y="0"/>
                </a:lnTo>
                <a:cubicBezTo>
                  <a:pt x="0" y="240"/>
                  <a:pt x="13" y="553"/>
                  <a:pt x="209" y="747"/>
                </a:cubicBezTo>
                <a:lnTo>
                  <a:pt x="209" y="747"/>
                </a:lnTo>
                <a:cubicBezTo>
                  <a:pt x="496" y="1029"/>
                  <a:pt x="2340" y="853"/>
                  <a:pt x="2340" y="853"/>
                </a:cubicBezTo>
                <a:lnTo>
                  <a:pt x="2340" y="853"/>
                </a:lnTo>
                <a:cubicBezTo>
                  <a:pt x="2340" y="853"/>
                  <a:pt x="2455" y="2614"/>
                  <a:pt x="2604" y="3188"/>
                </a:cubicBezTo>
                <a:lnTo>
                  <a:pt x="3159" y="3006"/>
                </a:lnTo>
                <a:lnTo>
                  <a:pt x="3159" y="3006"/>
                </a:lnTo>
                <a:cubicBezTo>
                  <a:pt x="3159" y="3006"/>
                  <a:pt x="3068" y="234"/>
                  <a:pt x="2861" y="101"/>
                </a:cubicBezTo>
                <a:lnTo>
                  <a:pt x="118" y="0"/>
                </a:lnTo>
              </a:path>
            </a:pathLst>
          </a:custGeom>
          <a:solidFill>
            <a:schemeClr val="bg1">
              <a:lumMod val="65000"/>
            </a:schemeClr>
          </a:solidFill>
          <a:ln>
            <a:noFill/>
          </a:ln>
          <a:effectLst/>
        </p:spPr>
        <p:txBody>
          <a:bodyPr wrap="none" anchor="ctr"/>
          <a:lstStyle/>
          <a:p>
            <a:endParaRPr lang="en-GB" sz="2450" dirty="0">
              <a:latin typeface="+mj-lt"/>
            </a:endParaRPr>
          </a:p>
        </p:txBody>
      </p:sp>
      <p:grpSp>
        <p:nvGrpSpPr>
          <p:cNvPr id="44" name="Group 56">
            <a:extLst>
              <a:ext uri="{FF2B5EF4-FFF2-40B4-BE49-F238E27FC236}">
                <a16:creationId xmlns:a16="http://schemas.microsoft.com/office/drawing/2014/main" xmlns="" id="{FDD0CC84-0185-41BD-AF5D-85D1BF52840A}"/>
              </a:ext>
            </a:extLst>
          </p:cNvPr>
          <p:cNvGrpSpPr/>
          <p:nvPr/>
        </p:nvGrpSpPr>
        <p:grpSpPr>
          <a:xfrm>
            <a:off x="10104145" y="1981747"/>
            <a:ext cx="1212556" cy="1045006"/>
            <a:chOff x="17261039" y="3816403"/>
            <a:chExt cx="2814057" cy="2425214"/>
          </a:xfrm>
        </p:grpSpPr>
        <p:sp>
          <p:nvSpPr>
            <p:cNvPr id="45" name="Freeform 38">
              <a:extLst>
                <a:ext uri="{FF2B5EF4-FFF2-40B4-BE49-F238E27FC236}">
                  <a16:creationId xmlns:a16="http://schemas.microsoft.com/office/drawing/2014/main" xmlns="" id="{C6FD86D7-430A-4205-B95A-18F503C7476C}"/>
                </a:ext>
              </a:extLst>
            </p:cNvPr>
            <p:cNvSpPr>
              <a:spLocks noChangeArrowheads="1"/>
            </p:cNvSpPr>
            <p:nvPr/>
          </p:nvSpPr>
          <p:spPr bwMode="auto">
            <a:xfrm>
              <a:off x="18986342" y="3853845"/>
              <a:ext cx="1088754" cy="1244291"/>
            </a:xfrm>
            <a:custGeom>
              <a:avLst/>
              <a:gdLst>
                <a:gd name="T0" fmla="*/ 8 w 1666"/>
                <a:gd name="T1" fmla="*/ 1906 h 1907"/>
                <a:gd name="T2" fmla="*/ 8 w 1666"/>
                <a:gd name="T3" fmla="*/ 1906 h 1907"/>
                <a:gd name="T4" fmla="*/ 864 w 1666"/>
                <a:gd name="T5" fmla="*/ 1584 h 1907"/>
                <a:gd name="T6" fmla="*/ 864 w 1666"/>
                <a:gd name="T7" fmla="*/ 1584 h 1907"/>
                <a:gd name="T8" fmla="*/ 1665 w 1666"/>
                <a:gd name="T9" fmla="*/ 0 h 1907"/>
                <a:gd name="T10" fmla="*/ 568 w 1666"/>
                <a:gd name="T11" fmla="*/ 107 h 1907"/>
                <a:gd name="T12" fmla="*/ 568 w 1666"/>
                <a:gd name="T13" fmla="*/ 107 h 1907"/>
                <a:gd name="T14" fmla="*/ 679 w 1666"/>
                <a:gd name="T15" fmla="*/ 428 h 1907"/>
                <a:gd name="T16" fmla="*/ 679 w 1666"/>
                <a:gd name="T17" fmla="*/ 428 h 1907"/>
                <a:gd name="T18" fmla="*/ 796 w 1666"/>
                <a:gd name="T19" fmla="*/ 384 h 1907"/>
                <a:gd name="T20" fmla="*/ 796 w 1666"/>
                <a:gd name="T21" fmla="*/ 384 h 1907"/>
                <a:gd name="T22" fmla="*/ 762 w 1666"/>
                <a:gd name="T23" fmla="*/ 287 h 1907"/>
                <a:gd name="T24" fmla="*/ 762 w 1666"/>
                <a:gd name="T25" fmla="*/ 287 h 1907"/>
                <a:gd name="T26" fmla="*/ 722 w 1666"/>
                <a:gd name="T27" fmla="*/ 255 h 1907"/>
                <a:gd name="T28" fmla="*/ 1471 w 1666"/>
                <a:gd name="T29" fmla="*/ 181 h 1907"/>
                <a:gd name="T30" fmla="*/ 1471 w 1666"/>
                <a:gd name="T31" fmla="*/ 181 h 1907"/>
                <a:gd name="T32" fmla="*/ 1215 w 1666"/>
                <a:gd name="T33" fmla="*/ 895 h 1907"/>
                <a:gd name="T34" fmla="*/ 1215 w 1666"/>
                <a:gd name="T35" fmla="*/ 895 h 1907"/>
                <a:gd name="T36" fmla="*/ 0 w 1666"/>
                <a:gd name="T37" fmla="*/ 1744 h 1907"/>
                <a:gd name="T38" fmla="*/ 8 w 1666"/>
                <a:gd name="T39" fmla="*/ 190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66" h="1907">
                  <a:moveTo>
                    <a:pt x="8" y="1906"/>
                  </a:moveTo>
                  <a:lnTo>
                    <a:pt x="8" y="1906"/>
                  </a:lnTo>
                  <a:cubicBezTo>
                    <a:pt x="330" y="1888"/>
                    <a:pt x="619" y="1779"/>
                    <a:pt x="864" y="1584"/>
                  </a:cubicBezTo>
                  <a:lnTo>
                    <a:pt x="864" y="1584"/>
                  </a:lnTo>
                  <a:cubicBezTo>
                    <a:pt x="1323" y="1220"/>
                    <a:pt x="1583" y="589"/>
                    <a:pt x="1665" y="0"/>
                  </a:cubicBezTo>
                  <a:lnTo>
                    <a:pt x="568" y="107"/>
                  </a:lnTo>
                  <a:lnTo>
                    <a:pt x="568" y="107"/>
                  </a:lnTo>
                  <a:cubicBezTo>
                    <a:pt x="517" y="260"/>
                    <a:pt x="565" y="362"/>
                    <a:pt x="679" y="428"/>
                  </a:cubicBezTo>
                  <a:lnTo>
                    <a:pt x="679" y="428"/>
                  </a:lnTo>
                  <a:cubicBezTo>
                    <a:pt x="723" y="453"/>
                    <a:pt x="780" y="432"/>
                    <a:pt x="796" y="384"/>
                  </a:cubicBezTo>
                  <a:lnTo>
                    <a:pt x="796" y="384"/>
                  </a:lnTo>
                  <a:cubicBezTo>
                    <a:pt x="809" y="348"/>
                    <a:pt x="794" y="308"/>
                    <a:pt x="762" y="287"/>
                  </a:cubicBezTo>
                  <a:lnTo>
                    <a:pt x="762" y="287"/>
                  </a:lnTo>
                  <a:cubicBezTo>
                    <a:pt x="742" y="277"/>
                    <a:pt x="730" y="265"/>
                    <a:pt x="722" y="255"/>
                  </a:cubicBezTo>
                  <a:lnTo>
                    <a:pt x="1471" y="181"/>
                  </a:lnTo>
                  <a:lnTo>
                    <a:pt x="1471" y="181"/>
                  </a:lnTo>
                  <a:cubicBezTo>
                    <a:pt x="1440" y="328"/>
                    <a:pt x="1365" y="611"/>
                    <a:pt x="1215" y="895"/>
                  </a:cubicBezTo>
                  <a:lnTo>
                    <a:pt x="1215" y="895"/>
                  </a:lnTo>
                  <a:cubicBezTo>
                    <a:pt x="931" y="1428"/>
                    <a:pt x="522" y="1714"/>
                    <a:pt x="0" y="1744"/>
                  </a:cubicBezTo>
                  <a:lnTo>
                    <a:pt x="8" y="1906"/>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6" name="Freeform 39">
              <a:extLst>
                <a:ext uri="{FF2B5EF4-FFF2-40B4-BE49-F238E27FC236}">
                  <a16:creationId xmlns:a16="http://schemas.microsoft.com/office/drawing/2014/main" xmlns="" id="{4C22F661-E79A-47EE-92F5-6BBB6086F8EE}"/>
                </a:ext>
              </a:extLst>
            </p:cNvPr>
            <p:cNvSpPr>
              <a:spLocks noChangeArrowheads="1"/>
            </p:cNvSpPr>
            <p:nvPr/>
          </p:nvSpPr>
          <p:spPr bwMode="auto">
            <a:xfrm>
              <a:off x="17261039" y="3816403"/>
              <a:ext cx="1057072" cy="1275973"/>
            </a:xfrm>
            <a:custGeom>
              <a:avLst/>
              <a:gdLst>
                <a:gd name="T0" fmla="*/ 1602 w 1618"/>
                <a:gd name="T1" fmla="*/ 1951 h 1952"/>
                <a:gd name="T2" fmla="*/ 1602 w 1618"/>
                <a:gd name="T3" fmla="*/ 1951 h 1952"/>
                <a:gd name="T4" fmla="*/ 758 w 1618"/>
                <a:gd name="T5" fmla="*/ 1605 h 1952"/>
                <a:gd name="T6" fmla="*/ 758 w 1618"/>
                <a:gd name="T7" fmla="*/ 1605 h 1952"/>
                <a:gd name="T8" fmla="*/ 0 w 1618"/>
                <a:gd name="T9" fmla="*/ 0 h 1952"/>
                <a:gd name="T10" fmla="*/ 1092 w 1618"/>
                <a:gd name="T11" fmla="*/ 138 h 1952"/>
                <a:gd name="T12" fmla="*/ 1092 w 1618"/>
                <a:gd name="T13" fmla="*/ 138 h 1952"/>
                <a:gd name="T14" fmla="*/ 974 w 1618"/>
                <a:gd name="T15" fmla="*/ 454 h 1952"/>
                <a:gd name="T16" fmla="*/ 974 w 1618"/>
                <a:gd name="T17" fmla="*/ 454 h 1952"/>
                <a:gd name="T18" fmla="*/ 857 w 1618"/>
                <a:gd name="T19" fmla="*/ 407 h 1952"/>
                <a:gd name="T20" fmla="*/ 857 w 1618"/>
                <a:gd name="T21" fmla="*/ 407 h 1952"/>
                <a:gd name="T22" fmla="*/ 894 w 1618"/>
                <a:gd name="T23" fmla="*/ 312 h 1952"/>
                <a:gd name="T24" fmla="*/ 894 w 1618"/>
                <a:gd name="T25" fmla="*/ 312 h 1952"/>
                <a:gd name="T26" fmla="*/ 936 w 1618"/>
                <a:gd name="T27" fmla="*/ 280 h 1952"/>
                <a:gd name="T28" fmla="*/ 189 w 1618"/>
                <a:gd name="T29" fmla="*/ 186 h 1952"/>
                <a:gd name="T30" fmla="*/ 189 w 1618"/>
                <a:gd name="T31" fmla="*/ 186 h 1952"/>
                <a:gd name="T32" fmla="*/ 424 w 1618"/>
                <a:gd name="T33" fmla="*/ 905 h 1952"/>
                <a:gd name="T34" fmla="*/ 424 w 1618"/>
                <a:gd name="T35" fmla="*/ 905 h 1952"/>
                <a:gd name="T36" fmla="*/ 1617 w 1618"/>
                <a:gd name="T37" fmla="*/ 1789 h 1952"/>
                <a:gd name="T38" fmla="*/ 1602 w 1618"/>
                <a:gd name="T39" fmla="*/ 1951 h 1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18" h="1952">
                  <a:moveTo>
                    <a:pt x="1602" y="1951"/>
                  </a:moveTo>
                  <a:lnTo>
                    <a:pt x="1602" y="1951"/>
                  </a:lnTo>
                  <a:cubicBezTo>
                    <a:pt x="1282" y="1924"/>
                    <a:pt x="997" y="1807"/>
                    <a:pt x="758" y="1605"/>
                  </a:cubicBezTo>
                  <a:lnTo>
                    <a:pt x="758" y="1605"/>
                  </a:lnTo>
                  <a:cubicBezTo>
                    <a:pt x="308" y="1227"/>
                    <a:pt x="65" y="591"/>
                    <a:pt x="0" y="0"/>
                  </a:cubicBezTo>
                  <a:lnTo>
                    <a:pt x="1092" y="138"/>
                  </a:lnTo>
                  <a:lnTo>
                    <a:pt x="1092" y="138"/>
                  </a:lnTo>
                  <a:cubicBezTo>
                    <a:pt x="1141" y="292"/>
                    <a:pt x="1088" y="393"/>
                    <a:pt x="974" y="454"/>
                  </a:cubicBezTo>
                  <a:lnTo>
                    <a:pt x="974" y="454"/>
                  </a:lnTo>
                  <a:cubicBezTo>
                    <a:pt x="929" y="478"/>
                    <a:pt x="873" y="455"/>
                    <a:pt x="857" y="407"/>
                  </a:cubicBezTo>
                  <a:lnTo>
                    <a:pt x="857" y="407"/>
                  </a:lnTo>
                  <a:cubicBezTo>
                    <a:pt x="846" y="370"/>
                    <a:pt x="862" y="330"/>
                    <a:pt x="894" y="312"/>
                  </a:cubicBezTo>
                  <a:lnTo>
                    <a:pt x="894" y="312"/>
                  </a:lnTo>
                  <a:cubicBezTo>
                    <a:pt x="914" y="302"/>
                    <a:pt x="927" y="290"/>
                    <a:pt x="936" y="280"/>
                  </a:cubicBezTo>
                  <a:lnTo>
                    <a:pt x="189" y="186"/>
                  </a:lnTo>
                  <a:lnTo>
                    <a:pt x="189" y="186"/>
                  </a:lnTo>
                  <a:cubicBezTo>
                    <a:pt x="215" y="333"/>
                    <a:pt x="282" y="618"/>
                    <a:pt x="424" y="905"/>
                  </a:cubicBezTo>
                  <a:lnTo>
                    <a:pt x="424" y="905"/>
                  </a:lnTo>
                  <a:cubicBezTo>
                    <a:pt x="694" y="1447"/>
                    <a:pt x="1095" y="1744"/>
                    <a:pt x="1617" y="1789"/>
                  </a:cubicBezTo>
                  <a:lnTo>
                    <a:pt x="1602" y="1951"/>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7" name="Freeform 40">
              <a:extLst>
                <a:ext uri="{FF2B5EF4-FFF2-40B4-BE49-F238E27FC236}">
                  <a16:creationId xmlns:a16="http://schemas.microsoft.com/office/drawing/2014/main" xmlns="" id="{37848C73-B2AA-48F6-BB74-01F07CD2FBE2}"/>
                </a:ext>
              </a:extLst>
            </p:cNvPr>
            <p:cNvSpPr>
              <a:spLocks noChangeArrowheads="1"/>
            </p:cNvSpPr>
            <p:nvPr/>
          </p:nvSpPr>
          <p:spPr bwMode="auto">
            <a:xfrm>
              <a:off x="18418920" y="5201827"/>
              <a:ext cx="429166" cy="1036909"/>
            </a:xfrm>
            <a:custGeom>
              <a:avLst/>
              <a:gdLst>
                <a:gd name="T0" fmla="*/ 0 w 659"/>
                <a:gd name="T1" fmla="*/ 1577 h 1588"/>
                <a:gd name="T2" fmla="*/ 658 w 659"/>
                <a:gd name="T3" fmla="*/ 1587 h 1588"/>
                <a:gd name="T4" fmla="*/ 544 w 659"/>
                <a:gd name="T5" fmla="*/ 4 h 1588"/>
                <a:gd name="T6" fmla="*/ 156 w 659"/>
                <a:gd name="T7" fmla="*/ 0 h 1588"/>
                <a:gd name="T8" fmla="*/ 1 w 659"/>
                <a:gd name="T9" fmla="*/ 1575 h 1588"/>
                <a:gd name="T10" fmla="*/ 0 w 659"/>
                <a:gd name="T11" fmla="*/ 1577 h 1588"/>
              </a:gdLst>
              <a:ahLst/>
              <a:cxnLst>
                <a:cxn ang="0">
                  <a:pos x="T0" y="T1"/>
                </a:cxn>
                <a:cxn ang="0">
                  <a:pos x="T2" y="T3"/>
                </a:cxn>
                <a:cxn ang="0">
                  <a:pos x="T4" y="T5"/>
                </a:cxn>
                <a:cxn ang="0">
                  <a:pos x="T6" y="T7"/>
                </a:cxn>
                <a:cxn ang="0">
                  <a:pos x="T8" y="T9"/>
                </a:cxn>
                <a:cxn ang="0">
                  <a:pos x="T10" y="T11"/>
                </a:cxn>
              </a:cxnLst>
              <a:rect l="0" t="0" r="r" b="b"/>
              <a:pathLst>
                <a:path w="659" h="1588">
                  <a:moveTo>
                    <a:pt x="0" y="1577"/>
                  </a:moveTo>
                  <a:lnTo>
                    <a:pt x="658" y="1587"/>
                  </a:lnTo>
                  <a:lnTo>
                    <a:pt x="544" y="4"/>
                  </a:lnTo>
                  <a:lnTo>
                    <a:pt x="156" y="0"/>
                  </a:lnTo>
                  <a:lnTo>
                    <a:pt x="1" y="1575"/>
                  </a:lnTo>
                  <a:lnTo>
                    <a:pt x="0" y="1577"/>
                  </a:lnTo>
                </a:path>
              </a:pathLst>
            </a:custGeom>
            <a:solidFill>
              <a:srgbClr val="FCC20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8" name="Freeform 41">
              <a:extLst>
                <a:ext uri="{FF2B5EF4-FFF2-40B4-BE49-F238E27FC236}">
                  <a16:creationId xmlns:a16="http://schemas.microsoft.com/office/drawing/2014/main" xmlns="" id="{9CE261DA-CE59-4FB5-935F-B3974EB66649}"/>
                </a:ext>
              </a:extLst>
            </p:cNvPr>
            <p:cNvSpPr>
              <a:spLocks noChangeArrowheads="1"/>
            </p:cNvSpPr>
            <p:nvPr/>
          </p:nvSpPr>
          <p:spPr bwMode="auto">
            <a:xfrm>
              <a:off x="18418920" y="5201828"/>
              <a:ext cx="230424" cy="1031148"/>
            </a:xfrm>
            <a:custGeom>
              <a:avLst/>
              <a:gdLst>
                <a:gd name="T0" fmla="*/ 0 w 354"/>
                <a:gd name="T1" fmla="*/ 1575 h 1580"/>
                <a:gd name="T2" fmla="*/ 332 w 354"/>
                <a:gd name="T3" fmla="*/ 1579 h 1580"/>
                <a:gd name="T4" fmla="*/ 353 w 354"/>
                <a:gd name="T5" fmla="*/ 1 h 1580"/>
                <a:gd name="T6" fmla="*/ 156 w 354"/>
                <a:gd name="T7" fmla="*/ 0 h 1580"/>
                <a:gd name="T8" fmla="*/ 0 w 354"/>
                <a:gd name="T9" fmla="*/ 1575 h 1580"/>
              </a:gdLst>
              <a:ahLst/>
              <a:cxnLst>
                <a:cxn ang="0">
                  <a:pos x="T0" y="T1"/>
                </a:cxn>
                <a:cxn ang="0">
                  <a:pos x="T2" y="T3"/>
                </a:cxn>
                <a:cxn ang="0">
                  <a:pos x="T4" y="T5"/>
                </a:cxn>
                <a:cxn ang="0">
                  <a:pos x="T6" y="T7"/>
                </a:cxn>
                <a:cxn ang="0">
                  <a:pos x="T8" y="T9"/>
                </a:cxn>
              </a:cxnLst>
              <a:rect l="0" t="0" r="r" b="b"/>
              <a:pathLst>
                <a:path w="354" h="1580">
                  <a:moveTo>
                    <a:pt x="0" y="1575"/>
                  </a:moveTo>
                  <a:lnTo>
                    <a:pt x="332" y="1579"/>
                  </a:lnTo>
                  <a:lnTo>
                    <a:pt x="353" y="1"/>
                  </a:lnTo>
                  <a:lnTo>
                    <a:pt x="156" y="0"/>
                  </a:lnTo>
                  <a:lnTo>
                    <a:pt x="0" y="1575"/>
                  </a:lnTo>
                </a:path>
              </a:pathLst>
            </a:custGeom>
            <a:solidFill>
              <a:srgbClr val="FF9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49" name="Freeform 42">
              <a:extLst>
                <a:ext uri="{FF2B5EF4-FFF2-40B4-BE49-F238E27FC236}">
                  <a16:creationId xmlns:a16="http://schemas.microsoft.com/office/drawing/2014/main" xmlns="" id="{5B62F369-2164-4179-AD4E-9A78C2E8D4D0}"/>
                </a:ext>
              </a:extLst>
            </p:cNvPr>
            <p:cNvSpPr>
              <a:spLocks noChangeArrowheads="1"/>
            </p:cNvSpPr>
            <p:nvPr/>
          </p:nvSpPr>
          <p:spPr bwMode="auto">
            <a:xfrm>
              <a:off x="18280667" y="6103362"/>
              <a:ext cx="708554" cy="138255"/>
            </a:xfrm>
            <a:custGeom>
              <a:avLst/>
              <a:gdLst>
                <a:gd name="T0" fmla="*/ 97 w 1085"/>
                <a:gd name="T1" fmla="*/ 197 h 210"/>
                <a:gd name="T2" fmla="*/ 986 w 1085"/>
                <a:gd name="T3" fmla="*/ 208 h 210"/>
                <a:gd name="T4" fmla="*/ 986 w 1085"/>
                <a:gd name="T5" fmla="*/ 208 h 210"/>
                <a:gd name="T6" fmla="*/ 1084 w 1085"/>
                <a:gd name="T7" fmla="*/ 112 h 210"/>
                <a:gd name="T8" fmla="*/ 1084 w 1085"/>
                <a:gd name="T9" fmla="*/ 14 h 210"/>
                <a:gd name="T10" fmla="*/ 3 w 1085"/>
                <a:gd name="T11" fmla="*/ 0 h 210"/>
                <a:gd name="T12" fmla="*/ 1 w 1085"/>
                <a:gd name="T13" fmla="*/ 98 h 210"/>
                <a:gd name="T14" fmla="*/ 1 w 1085"/>
                <a:gd name="T15" fmla="*/ 98 h 210"/>
                <a:gd name="T16" fmla="*/ 97 w 1085"/>
                <a:gd name="T17" fmla="*/ 19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5" h="210">
                  <a:moveTo>
                    <a:pt x="97" y="197"/>
                  </a:moveTo>
                  <a:lnTo>
                    <a:pt x="986" y="208"/>
                  </a:lnTo>
                  <a:lnTo>
                    <a:pt x="986" y="208"/>
                  </a:lnTo>
                  <a:cubicBezTo>
                    <a:pt x="1040" y="209"/>
                    <a:pt x="1082" y="167"/>
                    <a:pt x="1084" y="112"/>
                  </a:cubicBezTo>
                  <a:lnTo>
                    <a:pt x="1084" y="14"/>
                  </a:lnTo>
                  <a:lnTo>
                    <a:pt x="3" y="0"/>
                  </a:lnTo>
                  <a:lnTo>
                    <a:pt x="1" y="98"/>
                  </a:lnTo>
                  <a:lnTo>
                    <a:pt x="1" y="98"/>
                  </a:lnTo>
                  <a:cubicBezTo>
                    <a:pt x="0" y="151"/>
                    <a:pt x="43" y="195"/>
                    <a:pt x="97" y="197"/>
                  </a:cubicBezTo>
                </a:path>
              </a:pathLst>
            </a:custGeom>
            <a:solidFill>
              <a:srgbClr val="F9A30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0" name="Freeform 43">
              <a:extLst>
                <a:ext uri="{FF2B5EF4-FFF2-40B4-BE49-F238E27FC236}">
                  <a16:creationId xmlns:a16="http://schemas.microsoft.com/office/drawing/2014/main" xmlns="" id="{75CB8879-F90B-47B3-A06E-58D87C750F8A}"/>
                </a:ext>
              </a:extLst>
            </p:cNvPr>
            <p:cNvSpPr>
              <a:spLocks noChangeArrowheads="1"/>
            </p:cNvSpPr>
            <p:nvPr/>
          </p:nvSpPr>
          <p:spPr bwMode="auto">
            <a:xfrm>
              <a:off x="18280665" y="5979510"/>
              <a:ext cx="705675" cy="132494"/>
            </a:xfrm>
            <a:custGeom>
              <a:avLst/>
              <a:gdLst>
                <a:gd name="T0" fmla="*/ 0 w 1082"/>
                <a:gd name="T1" fmla="*/ 189 h 204"/>
                <a:gd name="T2" fmla="*/ 1081 w 1082"/>
                <a:gd name="T3" fmla="*/ 203 h 204"/>
                <a:gd name="T4" fmla="*/ 829 w 1082"/>
                <a:gd name="T5" fmla="*/ 8 h 204"/>
                <a:gd name="T6" fmla="*/ 238 w 1082"/>
                <a:gd name="T7" fmla="*/ 0 h 204"/>
                <a:gd name="T8" fmla="*/ 0 w 1082"/>
                <a:gd name="T9" fmla="*/ 189 h 204"/>
              </a:gdLst>
              <a:ahLst/>
              <a:cxnLst>
                <a:cxn ang="0">
                  <a:pos x="T0" y="T1"/>
                </a:cxn>
                <a:cxn ang="0">
                  <a:pos x="T2" y="T3"/>
                </a:cxn>
                <a:cxn ang="0">
                  <a:pos x="T4" y="T5"/>
                </a:cxn>
                <a:cxn ang="0">
                  <a:pos x="T6" y="T7"/>
                </a:cxn>
                <a:cxn ang="0">
                  <a:pos x="T8" y="T9"/>
                </a:cxn>
              </a:cxnLst>
              <a:rect l="0" t="0" r="r" b="b"/>
              <a:pathLst>
                <a:path w="1082" h="204">
                  <a:moveTo>
                    <a:pt x="0" y="189"/>
                  </a:moveTo>
                  <a:lnTo>
                    <a:pt x="1081" y="203"/>
                  </a:lnTo>
                  <a:lnTo>
                    <a:pt x="829" y="8"/>
                  </a:lnTo>
                  <a:lnTo>
                    <a:pt x="238" y="0"/>
                  </a:lnTo>
                  <a:lnTo>
                    <a:pt x="0" y="189"/>
                  </a:lnTo>
                </a:path>
              </a:pathLst>
            </a:custGeom>
            <a:solidFill>
              <a:srgbClr val="F5E21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1" name="Freeform 44">
              <a:extLst>
                <a:ext uri="{FF2B5EF4-FFF2-40B4-BE49-F238E27FC236}">
                  <a16:creationId xmlns:a16="http://schemas.microsoft.com/office/drawing/2014/main" xmlns="" id="{842ED4F6-9AAF-4CAA-997B-961D8CEFAE67}"/>
                </a:ext>
              </a:extLst>
            </p:cNvPr>
            <p:cNvSpPr>
              <a:spLocks noChangeArrowheads="1"/>
            </p:cNvSpPr>
            <p:nvPr/>
          </p:nvSpPr>
          <p:spPr bwMode="auto">
            <a:xfrm>
              <a:off x="17906226" y="3819282"/>
              <a:ext cx="1520800" cy="288030"/>
            </a:xfrm>
            <a:custGeom>
              <a:avLst/>
              <a:gdLst>
                <a:gd name="T0" fmla="*/ 6 w 2327"/>
                <a:gd name="T1" fmla="*/ 0 h 443"/>
                <a:gd name="T2" fmla="*/ 2326 w 2327"/>
                <a:gd name="T3" fmla="*/ 32 h 443"/>
                <a:gd name="T4" fmla="*/ 2320 w 2327"/>
                <a:gd name="T5" fmla="*/ 442 h 443"/>
                <a:gd name="T6" fmla="*/ 0 w 2327"/>
                <a:gd name="T7" fmla="*/ 411 h 443"/>
                <a:gd name="T8" fmla="*/ 6 w 2327"/>
                <a:gd name="T9" fmla="*/ 0 h 443"/>
              </a:gdLst>
              <a:ahLst/>
              <a:cxnLst>
                <a:cxn ang="0">
                  <a:pos x="T0" y="T1"/>
                </a:cxn>
                <a:cxn ang="0">
                  <a:pos x="T2" y="T3"/>
                </a:cxn>
                <a:cxn ang="0">
                  <a:pos x="T4" y="T5"/>
                </a:cxn>
                <a:cxn ang="0">
                  <a:pos x="T6" y="T7"/>
                </a:cxn>
                <a:cxn ang="0">
                  <a:pos x="T8" y="T9"/>
                </a:cxn>
              </a:cxnLst>
              <a:rect l="0" t="0" r="r" b="b"/>
              <a:pathLst>
                <a:path w="2327" h="443">
                  <a:moveTo>
                    <a:pt x="6" y="0"/>
                  </a:moveTo>
                  <a:lnTo>
                    <a:pt x="2326" y="32"/>
                  </a:lnTo>
                  <a:lnTo>
                    <a:pt x="2320" y="442"/>
                  </a:lnTo>
                  <a:lnTo>
                    <a:pt x="0" y="411"/>
                  </a:lnTo>
                  <a:lnTo>
                    <a:pt x="6" y="0"/>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2" name="Freeform 45">
              <a:extLst>
                <a:ext uri="{FF2B5EF4-FFF2-40B4-BE49-F238E27FC236}">
                  <a16:creationId xmlns:a16="http://schemas.microsoft.com/office/drawing/2014/main" xmlns="" id="{2A250E1E-36B4-43F4-B75F-811DB5304763}"/>
                </a:ext>
              </a:extLst>
            </p:cNvPr>
            <p:cNvSpPr>
              <a:spLocks noChangeArrowheads="1"/>
            </p:cNvSpPr>
            <p:nvPr/>
          </p:nvSpPr>
          <p:spPr bwMode="auto">
            <a:xfrm>
              <a:off x="18678147" y="4098672"/>
              <a:ext cx="740239" cy="1080112"/>
            </a:xfrm>
            <a:custGeom>
              <a:avLst/>
              <a:gdLst>
                <a:gd name="T0" fmla="*/ 25 w 1135"/>
                <a:gd name="T1" fmla="*/ 0 h 1654"/>
                <a:gd name="T2" fmla="*/ 0 w 1135"/>
                <a:gd name="T3" fmla="*/ 1648 h 1654"/>
                <a:gd name="T4" fmla="*/ 351 w 1135"/>
                <a:gd name="T5" fmla="*/ 1653 h 1654"/>
                <a:gd name="T6" fmla="*/ 351 w 1135"/>
                <a:gd name="T7" fmla="*/ 1653 h 1654"/>
                <a:gd name="T8" fmla="*/ 1134 w 1135"/>
                <a:gd name="T9" fmla="*/ 14 h 1654"/>
                <a:gd name="T10" fmla="*/ 25 w 1135"/>
                <a:gd name="T11" fmla="*/ 0 h 1654"/>
              </a:gdLst>
              <a:ahLst/>
              <a:cxnLst>
                <a:cxn ang="0">
                  <a:pos x="T0" y="T1"/>
                </a:cxn>
                <a:cxn ang="0">
                  <a:pos x="T2" y="T3"/>
                </a:cxn>
                <a:cxn ang="0">
                  <a:pos x="T4" y="T5"/>
                </a:cxn>
                <a:cxn ang="0">
                  <a:pos x="T6" y="T7"/>
                </a:cxn>
                <a:cxn ang="0">
                  <a:pos x="T8" y="T9"/>
                </a:cxn>
                <a:cxn ang="0">
                  <a:pos x="T10" y="T11"/>
                </a:cxn>
              </a:cxnLst>
              <a:rect l="0" t="0" r="r" b="b"/>
              <a:pathLst>
                <a:path w="1135" h="1654">
                  <a:moveTo>
                    <a:pt x="25" y="0"/>
                  </a:moveTo>
                  <a:lnTo>
                    <a:pt x="0" y="1648"/>
                  </a:lnTo>
                  <a:lnTo>
                    <a:pt x="351" y="1653"/>
                  </a:lnTo>
                  <a:lnTo>
                    <a:pt x="351" y="1653"/>
                  </a:lnTo>
                  <a:cubicBezTo>
                    <a:pt x="774" y="1408"/>
                    <a:pt x="1090" y="776"/>
                    <a:pt x="1134" y="14"/>
                  </a:cubicBezTo>
                  <a:lnTo>
                    <a:pt x="25" y="0"/>
                  </a:lnTo>
                </a:path>
              </a:pathLst>
            </a:custGeom>
            <a:solidFill>
              <a:srgbClr val="FFC7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3" name="Freeform 46">
              <a:extLst>
                <a:ext uri="{FF2B5EF4-FFF2-40B4-BE49-F238E27FC236}">
                  <a16:creationId xmlns:a16="http://schemas.microsoft.com/office/drawing/2014/main" xmlns="" id="{7987F11C-9288-4484-A759-1A4CF301DF2E}"/>
                </a:ext>
              </a:extLst>
            </p:cNvPr>
            <p:cNvSpPr>
              <a:spLocks noChangeArrowheads="1"/>
            </p:cNvSpPr>
            <p:nvPr/>
          </p:nvSpPr>
          <p:spPr bwMode="auto">
            <a:xfrm>
              <a:off x="17906227" y="4087152"/>
              <a:ext cx="792084" cy="1088754"/>
            </a:xfrm>
            <a:custGeom>
              <a:avLst/>
              <a:gdLst>
                <a:gd name="T0" fmla="*/ 0 w 1212"/>
                <a:gd name="T1" fmla="*/ 0 h 1666"/>
                <a:gd name="T2" fmla="*/ 0 w 1212"/>
                <a:gd name="T3" fmla="*/ 0 h 1666"/>
                <a:gd name="T4" fmla="*/ 738 w 1212"/>
                <a:gd name="T5" fmla="*/ 1659 h 1666"/>
                <a:gd name="T6" fmla="*/ 1186 w 1212"/>
                <a:gd name="T7" fmla="*/ 1665 h 1666"/>
                <a:gd name="T8" fmla="*/ 1211 w 1212"/>
                <a:gd name="T9" fmla="*/ 17 h 1666"/>
                <a:gd name="T10" fmla="*/ 0 w 1212"/>
                <a:gd name="T11" fmla="*/ 0 h 1666"/>
              </a:gdLst>
              <a:ahLst/>
              <a:cxnLst>
                <a:cxn ang="0">
                  <a:pos x="T0" y="T1"/>
                </a:cxn>
                <a:cxn ang="0">
                  <a:pos x="T2" y="T3"/>
                </a:cxn>
                <a:cxn ang="0">
                  <a:pos x="T4" y="T5"/>
                </a:cxn>
                <a:cxn ang="0">
                  <a:pos x="T6" y="T7"/>
                </a:cxn>
                <a:cxn ang="0">
                  <a:pos x="T8" y="T9"/>
                </a:cxn>
                <a:cxn ang="0">
                  <a:pos x="T10" y="T11"/>
                </a:cxn>
              </a:cxnLst>
              <a:rect l="0" t="0" r="r" b="b"/>
              <a:pathLst>
                <a:path w="1212" h="1666">
                  <a:moveTo>
                    <a:pt x="0" y="0"/>
                  </a:moveTo>
                  <a:lnTo>
                    <a:pt x="0" y="0"/>
                  </a:lnTo>
                  <a:cubicBezTo>
                    <a:pt x="23" y="762"/>
                    <a:pt x="322" y="1402"/>
                    <a:pt x="738" y="1659"/>
                  </a:cubicBezTo>
                  <a:lnTo>
                    <a:pt x="1186" y="1665"/>
                  </a:lnTo>
                  <a:lnTo>
                    <a:pt x="1211" y="17"/>
                  </a:lnTo>
                  <a:lnTo>
                    <a:pt x="0" y="0"/>
                  </a:lnTo>
                </a:path>
              </a:pathLst>
            </a:custGeom>
            <a:solidFill>
              <a:srgbClr val="FFAA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4" name="Freeform 47">
              <a:extLst>
                <a:ext uri="{FF2B5EF4-FFF2-40B4-BE49-F238E27FC236}">
                  <a16:creationId xmlns:a16="http://schemas.microsoft.com/office/drawing/2014/main" xmlns="" id="{648DAD36-4851-465D-B664-1FDCE4591FB8}"/>
                </a:ext>
              </a:extLst>
            </p:cNvPr>
            <p:cNvSpPr>
              <a:spLocks noChangeArrowheads="1"/>
            </p:cNvSpPr>
            <p:nvPr/>
          </p:nvSpPr>
          <p:spPr bwMode="auto">
            <a:xfrm>
              <a:off x="19087150" y="4254209"/>
              <a:ext cx="129615" cy="132494"/>
            </a:xfrm>
            <a:custGeom>
              <a:avLst/>
              <a:gdLst>
                <a:gd name="T0" fmla="*/ 0 w 200"/>
                <a:gd name="T1" fmla="*/ 99 h 201"/>
                <a:gd name="T2" fmla="*/ 0 w 200"/>
                <a:gd name="T3" fmla="*/ 99 h 201"/>
                <a:gd name="T4" fmla="*/ 98 w 200"/>
                <a:gd name="T5" fmla="*/ 198 h 201"/>
                <a:gd name="T6" fmla="*/ 98 w 200"/>
                <a:gd name="T7" fmla="*/ 198 h 201"/>
                <a:gd name="T8" fmla="*/ 198 w 200"/>
                <a:gd name="T9" fmla="*/ 102 h 201"/>
                <a:gd name="T10" fmla="*/ 198 w 200"/>
                <a:gd name="T11" fmla="*/ 102 h 201"/>
                <a:gd name="T12" fmla="*/ 101 w 200"/>
                <a:gd name="T13" fmla="*/ 0 h 201"/>
                <a:gd name="T14" fmla="*/ 101 w 200"/>
                <a:gd name="T15" fmla="*/ 0 h 201"/>
                <a:gd name="T16" fmla="*/ 0 w 200"/>
                <a:gd name="T17" fmla="*/ 99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1">
                  <a:moveTo>
                    <a:pt x="0" y="99"/>
                  </a:moveTo>
                  <a:lnTo>
                    <a:pt x="0" y="99"/>
                  </a:lnTo>
                  <a:cubicBezTo>
                    <a:pt x="0" y="154"/>
                    <a:pt x="44" y="198"/>
                    <a:pt x="98" y="198"/>
                  </a:cubicBezTo>
                  <a:lnTo>
                    <a:pt x="98" y="198"/>
                  </a:lnTo>
                  <a:cubicBezTo>
                    <a:pt x="154" y="200"/>
                    <a:pt x="198" y="157"/>
                    <a:pt x="198" y="102"/>
                  </a:cubicBezTo>
                  <a:lnTo>
                    <a:pt x="198" y="102"/>
                  </a:lnTo>
                  <a:cubicBezTo>
                    <a:pt x="199" y="47"/>
                    <a:pt x="155" y="2"/>
                    <a:pt x="101" y="0"/>
                  </a:cubicBezTo>
                  <a:lnTo>
                    <a:pt x="101" y="0"/>
                  </a:lnTo>
                  <a:cubicBezTo>
                    <a:pt x="45" y="0"/>
                    <a:pt x="1" y="45"/>
                    <a:pt x="0" y="9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55" name="Freeform 48">
              <a:extLst>
                <a:ext uri="{FF2B5EF4-FFF2-40B4-BE49-F238E27FC236}">
                  <a16:creationId xmlns:a16="http://schemas.microsoft.com/office/drawing/2014/main" xmlns="" id="{F7A9FA18-8760-4126-9FE5-FA763E4BC2BC}"/>
                </a:ext>
              </a:extLst>
            </p:cNvPr>
            <p:cNvSpPr>
              <a:spLocks noChangeArrowheads="1"/>
            </p:cNvSpPr>
            <p:nvPr/>
          </p:nvSpPr>
          <p:spPr bwMode="auto">
            <a:xfrm>
              <a:off x="18269145" y="5170145"/>
              <a:ext cx="754639" cy="198740"/>
            </a:xfrm>
            <a:custGeom>
              <a:avLst/>
              <a:gdLst>
                <a:gd name="T0" fmla="*/ 1 w 1157"/>
                <a:gd name="T1" fmla="*/ 187 h 305"/>
                <a:gd name="T2" fmla="*/ 1 w 1157"/>
                <a:gd name="T3" fmla="*/ 187 h 305"/>
                <a:gd name="T4" fmla="*/ 101 w 1157"/>
                <a:gd name="T5" fmla="*/ 290 h 305"/>
                <a:gd name="T6" fmla="*/ 1051 w 1157"/>
                <a:gd name="T7" fmla="*/ 304 h 305"/>
                <a:gd name="T8" fmla="*/ 1051 w 1157"/>
                <a:gd name="T9" fmla="*/ 304 h 305"/>
                <a:gd name="T10" fmla="*/ 1155 w 1157"/>
                <a:gd name="T11" fmla="*/ 203 h 305"/>
                <a:gd name="T12" fmla="*/ 1156 w 1157"/>
                <a:gd name="T13" fmla="*/ 117 h 305"/>
                <a:gd name="T14" fmla="*/ 1156 w 1157"/>
                <a:gd name="T15" fmla="*/ 117 h 305"/>
                <a:gd name="T16" fmla="*/ 1055 w 1157"/>
                <a:gd name="T17" fmla="*/ 15 h 305"/>
                <a:gd name="T18" fmla="*/ 105 w 1157"/>
                <a:gd name="T19" fmla="*/ 2 h 305"/>
                <a:gd name="T20" fmla="*/ 105 w 1157"/>
                <a:gd name="T21" fmla="*/ 2 h 305"/>
                <a:gd name="T22" fmla="*/ 1 w 1157"/>
                <a:gd name="T23" fmla="*/ 102 h 305"/>
                <a:gd name="T24" fmla="*/ 1 w 1157"/>
                <a:gd name="T25" fmla="*/ 18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7" h="305">
                  <a:moveTo>
                    <a:pt x="1" y="187"/>
                  </a:moveTo>
                  <a:lnTo>
                    <a:pt x="1" y="187"/>
                  </a:lnTo>
                  <a:cubicBezTo>
                    <a:pt x="0" y="244"/>
                    <a:pt x="45" y="290"/>
                    <a:pt x="101" y="290"/>
                  </a:cubicBezTo>
                  <a:lnTo>
                    <a:pt x="1051" y="304"/>
                  </a:lnTo>
                  <a:lnTo>
                    <a:pt x="1051" y="304"/>
                  </a:lnTo>
                  <a:cubicBezTo>
                    <a:pt x="1108" y="304"/>
                    <a:pt x="1154" y="260"/>
                    <a:pt x="1155" y="203"/>
                  </a:cubicBezTo>
                  <a:lnTo>
                    <a:pt x="1156" y="117"/>
                  </a:lnTo>
                  <a:lnTo>
                    <a:pt x="1156" y="117"/>
                  </a:lnTo>
                  <a:cubicBezTo>
                    <a:pt x="1156" y="62"/>
                    <a:pt x="1111" y="15"/>
                    <a:pt x="1055" y="15"/>
                  </a:cubicBezTo>
                  <a:lnTo>
                    <a:pt x="105" y="2"/>
                  </a:lnTo>
                  <a:lnTo>
                    <a:pt x="105" y="2"/>
                  </a:lnTo>
                  <a:cubicBezTo>
                    <a:pt x="48" y="0"/>
                    <a:pt x="3" y="46"/>
                    <a:pt x="1" y="102"/>
                  </a:cubicBezTo>
                  <a:lnTo>
                    <a:pt x="1" y="187"/>
                  </a:lnTo>
                </a:path>
              </a:pathLst>
            </a:custGeom>
            <a:solidFill>
              <a:srgbClr val="FFC2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grpSp>
      <p:sp>
        <p:nvSpPr>
          <p:cNvPr id="56" name="Freeform 49">
            <a:extLst>
              <a:ext uri="{FF2B5EF4-FFF2-40B4-BE49-F238E27FC236}">
                <a16:creationId xmlns:a16="http://schemas.microsoft.com/office/drawing/2014/main" xmlns="" id="{79BBDD8D-0397-4FD9-9C81-0462E5BD6DFB}"/>
              </a:ext>
            </a:extLst>
          </p:cNvPr>
          <p:cNvSpPr>
            <a:spLocks noChangeArrowheads="1"/>
          </p:cNvSpPr>
          <p:nvPr/>
        </p:nvSpPr>
        <p:spPr bwMode="auto">
          <a:xfrm>
            <a:off x="8179631"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3"/>
          </a:solidFill>
          <a:ln>
            <a:noFill/>
          </a:ln>
          <a:effectLst/>
        </p:spPr>
        <p:txBody>
          <a:bodyPr wrap="none" anchor="ctr"/>
          <a:lstStyle/>
          <a:p>
            <a:endParaRPr lang="en-GB" sz="2450" dirty="0">
              <a:latin typeface="+mj-lt"/>
            </a:endParaRPr>
          </a:p>
        </p:txBody>
      </p:sp>
      <p:sp>
        <p:nvSpPr>
          <p:cNvPr id="57" name="Freeform 50">
            <a:extLst>
              <a:ext uri="{FF2B5EF4-FFF2-40B4-BE49-F238E27FC236}">
                <a16:creationId xmlns:a16="http://schemas.microsoft.com/office/drawing/2014/main" xmlns="" id="{F40AE6CA-518F-41EB-8602-8269273ABB21}"/>
              </a:ext>
            </a:extLst>
          </p:cNvPr>
          <p:cNvSpPr>
            <a:spLocks noChangeArrowheads="1"/>
          </p:cNvSpPr>
          <p:nvPr/>
        </p:nvSpPr>
        <p:spPr bwMode="auto">
          <a:xfrm>
            <a:off x="9117144"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4"/>
          </a:solidFill>
          <a:ln>
            <a:noFill/>
          </a:ln>
          <a:effectLst/>
        </p:spPr>
        <p:txBody>
          <a:bodyPr wrap="none" anchor="ctr"/>
          <a:lstStyle/>
          <a:p>
            <a:endParaRPr lang="en-GB" sz="2450" dirty="0">
              <a:latin typeface="+mj-lt"/>
            </a:endParaRPr>
          </a:p>
        </p:txBody>
      </p:sp>
      <p:sp>
        <p:nvSpPr>
          <p:cNvPr id="58" name="Freeform 51">
            <a:extLst>
              <a:ext uri="{FF2B5EF4-FFF2-40B4-BE49-F238E27FC236}">
                <a16:creationId xmlns:a16="http://schemas.microsoft.com/office/drawing/2014/main" xmlns="" id="{AD44149D-D4FA-4264-A2F9-C328946F230A}"/>
              </a:ext>
            </a:extLst>
          </p:cNvPr>
          <p:cNvSpPr>
            <a:spLocks noChangeArrowheads="1"/>
          </p:cNvSpPr>
          <p:nvPr/>
        </p:nvSpPr>
        <p:spPr bwMode="auto">
          <a:xfrm>
            <a:off x="7242118" y="2249826"/>
            <a:ext cx="438109" cy="433143"/>
          </a:xfrm>
          <a:custGeom>
            <a:avLst/>
            <a:gdLst>
              <a:gd name="T0" fmla="*/ 1555 w 1556"/>
              <a:gd name="T1" fmla="*/ 768 h 1538"/>
              <a:gd name="T2" fmla="*/ 765 w 1556"/>
              <a:gd name="T3" fmla="*/ 1537 h 1538"/>
              <a:gd name="T4" fmla="*/ 651 w 1556"/>
              <a:gd name="T5" fmla="*/ 1419 h 1538"/>
              <a:gd name="T6" fmla="*/ 987 w 1556"/>
              <a:gd name="T7" fmla="*/ 1093 h 1538"/>
              <a:gd name="T8" fmla="*/ 0 w 1556"/>
              <a:gd name="T9" fmla="*/ 1093 h 1538"/>
              <a:gd name="T10" fmla="*/ 0 w 1556"/>
              <a:gd name="T11" fmla="*/ 445 h 1538"/>
              <a:gd name="T12" fmla="*/ 987 w 1556"/>
              <a:gd name="T13" fmla="*/ 445 h 1538"/>
              <a:gd name="T14" fmla="*/ 651 w 1556"/>
              <a:gd name="T15" fmla="*/ 117 h 1538"/>
              <a:gd name="T16" fmla="*/ 765 w 1556"/>
              <a:gd name="T17" fmla="*/ 0 h 1538"/>
              <a:gd name="T18" fmla="*/ 1555 w 1556"/>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6" h="1538">
                <a:moveTo>
                  <a:pt x="1555" y="768"/>
                </a:moveTo>
                <a:lnTo>
                  <a:pt x="765" y="1537"/>
                </a:lnTo>
                <a:lnTo>
                  <a:pt x="651" y="1419"/>
                </a:lnTo>
                <a:lnTo>
                  <a:pt x="987" y="1093"/>
                </a:lnTo>
                <a:lnTo>
                  <a:pt x="0" y="1093"/>
                </a:lnTo>
                <a:lnTo>
                  <a:pt x="0" y="445"/>
                </a:lnTo>
                <a:lnTo>
                  <a:pt x="987" y="445"/>
                </a:lnTo>
                <a:lnTo>
                  <a:pt x="651" y="117"/>
                </a:lnTo>
                <a:lnTo>
                  <a:pt x="765" y="0"/>
                </a:lnTo>
                <a:lnTo>
                  <a:pt x="1555" y="768"/>
                </a:lnTo>
              </a:path>
            </a:pathLst>
          </a:custGeom>
          <a:solidFill>
            <a:schemeClr val="accent2"/>
          </a:solidFill>
          <a:ln>
            <a:noFill/>
          </a:ln>
          <a:effectLst/>
        </p:spPr>
        <p:txBody>
          <a:bodyPr wrap="none" anchor="ctr"/>
          <a:lstStyle/>
          <a:p>
            <a:endParaRPr lang="en-GB" sz="2450" dirty="0">
              <a:latin typeface="+mj-lt"/>
            </a:endParaRPr>
          </a:p>
        </p:txBody>
      </p:sp>
      <p:sp>
        <p:nvSpPr>
          <p:cNvPr id="59" name="Freeform 52">
            <a:extLst>
              <a:ext uri="{FF2B5EF4-FFF2-40B4-BE49-F238E27FC236}">
                <a16:creationId xmlns:a16="http://schemas.microsoft.com/office/drawing/2014/main" xmlns="" id="{F30410A3-6B13-465A-B39F-79BD0B16525A}"/>
              </a:ext>
            </a:extLst>
          </p:cNvPr>
          <p:cNvSpPr>
            <a:spLocks noChangeArrowheads="1"/>
          </p:cNvSpPr>
          <p:nvPr/>
        </p:nvSpPr>
        <p:spPr bwMode="auto">
          <a:xfrm>
            <a:off x="6304131" y="2249826"/>
            <a:ext cx="438109" cy="433143"/>
          </a:xfrm>
          <a:custGeom>
            <a:avLst/>
            <a:gdLst>
              <a:gd name="T0" fmla="*/ 1554 w 1555"/>
              <a:gd name="T1" fmla="*/ 768 h 1538"/>
              <a:gd name="T2" fmla="*/ 765 w 1555"/>
              <a:gd name="T3" fmla="*/ 1537 h 1538"/>
              <a:gd name="T4" fmla="*/ 650 w 1555"/>
              <a:gd name="T5" fmla="*/ 1419 h 1538"/>
              <a:gd name="T6" fmla="*/ 986 w 1555"/>
              <a:gd name="T7" fmla="*/ 1093 h 1538"/>
              <a:gd name="T8" fmla="*/ 0 w 1555"/>
              <a:gd name="T9" fmla="*/ 1093 h 1538"/>
              <a:gd name="T10" fmla="*/ 0 w 1555"/>
              <a:gd name="T11" fmla="*/ 445 h 1538"/>
              <a:gd name="T12" fmla="*/ 986 w 1555"/>
              <a:gd name="T13" fmla="*/ 445 h 1538"/>
              <a:gd name="T14" fmla="*/ 650 w 1555"/>
              <a:gd name="T15" fmla="*/ 117 h 1538"/>
              <a:gd name="T16" fmla="*/ 765 w 1555"/>
              <a:gd name="T17" fmla="*/ 0 h 1538"/>
              <a:gd name="T18" fmla="*/ 1554 w 1555"/>
              <a:gd name="T19" fmla="*/ 768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5" h="1538">
                <a:moveTo>
                  <a:pt x="1554" y="768"/>
                </a:moveTo>
                <a:lnTo>
                  <a:pt x="765" y="1537"/>
                </a:lnTo>
                <a:lnTo>
                  <a:pt x="650" y="1419"/>
                </a:lnTo>
                <a:lnTo>
                  <a:pt x="986" y="1093"/>
                </a:lnTo>
                <a:lnTo>
                  <a:pt x="0" y="1093"/>
                </a:lnTo>
                <a:lnTo>
                  <a:pt x="0" y="445"/>
                </a:lnTo>
                <a:lnTo>
                  <a:pt x="986" y="445"/>
                </a:lnTo>
                <a:lnTo>
                  <a:pt x="650" y="117"/>
                </a:lnTo>
                <a:lnTo>
                  <a:pt x="765" y="0"/>
                </a:lnTo>
                <a:lnTo>
                  <a:pt x="1554" y="768"/>
                </a:lnTo>
              </a:path>
            </a:pathLst>
          </a:custGeom>
          <a:solidFill>
            <a:schemeClr val="accent1"/>
          </a:solidFill>
          <a:ln>
            <a:noFill/>
          </a:ln>
          <a:effectLst/>
        </p:spPr>
        <p:txBody>
          <a:bodyPr wrap="none" anchor="ctr"/>
          <a:lstStyle/>
          <a:p>
            <a:endParaRPr lang="en-GB" sz="2450" dirty="0">
              <a:latin typeface="+mj-lt"/>
            </a:endParaRPr>
          </a:p>
        </p:txBody>
      </p:sp>
      <p:sp>
        <p:nvSpPr>
          <p:cNvPr id="60" name="L-Shape 58">
            <a:extLst>
              <a:ext uri="{FF2B5EF4-FFF2-40B4-BE49-F238E27FC236}">
                <a16:creationId xmlns:a16="http://schemas.microsoft.com/office/drawing/2014/main" xmlns="" id="{42E68939-21E1-4830-B03F-2BE91543B9CF}"/>
              </a:ext>
            </a:extLst>
          </p:cNvPr>
          <p:cNvSpPr/>
          <p:nvPr/>
        </p:nvSpPr>
        <p:spPr>
          <a:xfrm rot="10800000" flipH="1">
            <a:off x="3423679" y="4546908"/>
            <a:ext cx="1471555" cy="858841"/>
          </a:xfrm>
          <a:prstGeom prst="corner">
            <a:avLst>
              <a:gd name="adj1" fmla="val 17009"/>
              <a:gd name="adj2" fmla="val 1663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1" name="L-Shape 59">
            <a:extLst>
              <a:ext uri="{FF2B5EF4-FFF2-40B4-BE49-F238E27FC236}">
                <a16:creationId xmlns:a16="http://schemas.microsoft.com/office/drawing/2014/main" xmlns="" id="{E09D1C61-BFD0-4274-8D67-70FB5E983053}"/>
              </a:ext>
            </a:extLst>
          </p:cNvPr>
          <p:cNvSpPr/>
          <p:nvPr/>
        </p:nvSpPr>
        <p:spPr>
          <a:xfrm rot="10800000" flipH="1">
            <a:off x="5086672" y="4177717"/>
            <a:ext cx="1471555" cy="858841"/>
          </a:xfrm>
          <a:prstGeom prst="corner">
            <a:avLst>
              <a:gd name="adj1" fmla="val 17009"/>
              <a:gd name="adj2" fmla="val 1663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2" name="Freeform 6">
            <a:extLst>
              <a:ext uri="{FF2B5EF4-FFF2-40B4-BE49-F238E27FC236}">
                <a16:creationId xmlns:a16="http://schemas.microsoft.com/office/drawing/2014/main" xmlns="" id="{294687EF-CC1D-4E02-8978-3A44E89645CC}"/>
              </a:ext>
            </a:extLst>
          </p:cNvPr>
          <p:cNvSpPr>
            <a:spLocks noChangeArrowheads="1"/>
          </p:cNvSpPr>
          <p:nvPr/>
        </p:nvSpPr>
        <p:spPr bwMode="auto">
          <a:xfrm>
            <a:off x="9588084" y="3127284"/>
            <a:ext cx="212228" cy="210987"/>
          </a:xfrm>
          <a:custGeom>
            <a:avLst/>
            <a:gdLst>
              <a:gd name="T0" fmla="*/ 0 w 753"/>
              <a:gd name="T1" fmla="*/ 750 h 751"/>
              <a:gd name="T2" fmla="*/ 752 w 753"/>
              <a:gd name="T3" fmla="*/ 750 h 751"/>
              <a:gd name="T4" fmla="*/ 752 w 753"/>
              <a:gd name="T5" fmla="*/ 0 h 751"/>
              <a:gd name="T6" fmla="*/ 749 w 753"/>
              <a:gd name="T7" fmla="*/ 0 h 751"/>
              <a:gd name="T8" fmla="*/ 0 w 753"/>
              <a:gd name="T9" fmla="*/ 750 h 751"/>
            </a:gdLst>
            <a:ahLst/>
            <a:cxnLst>
              <a:cxn ang="0">
                <a:pos x="T0" y="T1"/>
              </a:cxn>
              <a:cxn ang="0">
                <a:pos x="T2" y="T3"/>
              </a:cxn>
              <a:cxn ang="0">
                <a:pos x="T4" y="T5"/>
              </a:cxn>
              <a:cxn ang="0">
                <a:pos x="T6" y="T7"/>
              </a:cxn>
              <a:cxn ang="0">
                <a:pos x="T8" y="T9"/>
              </a:cxn>
            </a:cxnLst>
            <a:rect l="0" t="0" r="r" b="b"/>
            <a:pathLst>
              <a:path w="753" h="751">
                <a:moveTo>
                  <a:pt x="0" y="750"/>
                </a:moveTo>
                <a:lnTo>
                  <a:pt x="752" y="750"/>
                </a:lnTo>
                <a:lnTo>
                  <a:pt x="752" y="0"/>
                </a:lnTo>
                <a:lnTo>
                  <a:pt x="749" y="0"/>
                </a:lnTo>
                <a:lnTo>
                  <a:pt x="0" y="750"/>
                </a:lnTo>
              </a:path>
            </a:pathLst>
          </a:custGeom>
          <a:solidFill>
            <a:schemeClr val="accent4"/>
          </a:solidFill>
          <a:ln>
            <a:noFill/>
          </a:ln>
          <a:effectLst/>
        </p:spPr>
        <p:txBody>
          <a:bodyPr wrap="none" anchor="ctr"/>
          <a:lstStyle/>
          <a:p>
            <a:endParaRPr lang="en-GB" sz="2450" dirty="0">
              <a:latin typeface="+mj-lt"/>
            </a:endParaRPr>
          </a:p>
        </p:txBody>
      </p:sp>
      <p:sp>
        <p:nvSpPr>
          <p:cNvPr id="63" name="L-Shape 62">
            <a:extLst>
              <a:ext uri="{FF2B5EF4-FFF2-40B4-BE49-F238E27FC236}">
                <a16:creationId xmlns:a16="http://schemas.microsoft.com/office/drawing/2014/main" xmlns="" id="{400ABB2D-858C-44FF-860A-59E4B789BD87}"/>
              </a:ext>
            </a:extLst>
          </p:cNvPr>
          <p:cNvSpPr/>
          <p:nvPr/>
        </p:nvSpPr>
        <p:spPr>
          <a:xfrm rot="10800000" flipH="1">
            <a:off x="8332109" y="3452451"/>
            <a:ext cx="1471555" cy="858841"/>
          </a:xfrm>
          <a:prstGeom prst="corner">
            <a:avLst>
              <a:gd name="adj1" fmla="val 17009"/>
              <a:gd name="adj2" fmla="val 1663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4" name="L-Shape 63">
            <a:extLst>
              <a:ext uri="{FF2B5EF4-FFF2-40B4-BE49-F238E27FC236}">
                <a16:creationId xmlns:a16="http://schemas.microsoft.com/office/drawing/2014/main" xmlns="" id="{C7DC8BA1-D48C-48C6-B16E-6E4E6F3651B6}"/>
              </a:ext>
            </a:extLst>
          </p:cNvPr>
          <p:cNvSpPr/>
          <p:nvPr/>
        </p:nvSpPr>
        <p:spPr>
          <a:xfrm rot="10800000" flipH="1">
            <a:off x="9974646" y="3119059"/>
            <a:ext cx="1471555" cy="858841"/>
          </a:xfrm>
          <a:prstGeom prst="corner">
            <a:avLst>
              <a:gd name="adj1" fmla="val 17009"/>
              <a:gd name="adj2" fmla="val 1663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5" name="L-Shape 64">
            <a:extLst>
              <a:ext uri="{FF2B5EF4-FFF2-40B4-BE49-F238E27FC236}">
                <a16:creationId xmlns:a16="http://schemas.microsoft.com/office/drawing/2014/main" xmlns="" id="{C984EBDF-A273-46BC-B4DB-2068E7D310DD}"/>
              </a:ext>
            </a:extLst>
          </p:cNvPr>
          <p:cNvSpPr/>
          <p:nvPr/>
        </p:nvSpPr>
        <p:spPr>
          <a:xfrm rot="10800000" flipH="1">
            <a:off x="6717111" y="3834710"/>
            <a:ext cx="1471555" cy="858841"/>
          </a:xfrm>
          <a:prstGeom prst="corner">
            <a:avLst>
              <a:gd name="adj1" fmla="val 17009"/>
              <a:gd name="adj2" fmla="val 1663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66" name="Subtitle 2">
            <a:extLst>
              <a:ext uri="{FF2B5EF4-FFF2-40B4-BE49-F238E27FC236}">
                <a16:creationId xmlns:a16="http://schemas.microsoft.com/office/drawing/2014/main" xmlns="" id="{6DA36CAD-13BA-45F2-891E-9C1C0945FC60}"/>
              </a:ext>
            </a:extLst>
          </p:cNvPr>
          <p:cNvSpPr txBox="1">
            <a:spLocks/>
          </p:cNvSpPr>
          <p:nvPr/>
        </p:nvSpPr>
        <p:spPr>
          <a:xfrm>
            <a:off x="3653972" y="4693575"/>
            <a:ext cx="1500790"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Zeitnahe</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betriebswirt-schaftliche</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Aus-wertung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z.B.</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anhand</a:t>
            </a:r>
            <a:r>
              <a:rPr lang="en-GB" sz="1800" dirty="0">
                <a:solidFill>
                  <a:srgbClr val="245473"/>
                </a:solidFill>
                <a:latin typeface="+mj-lt"/>
                <a:ea typeface="Lato Light" panose="020F0502020204030203" pitchFamily="34" charset="0"/>
                <a:cs typeface="Mukta ExtraLight" panose="020B0000000000000000" pitchFamily="34" charset="77"/>
              </a:rPr>
              <a:t> von Kennzahlen)</a:t>
            </a:r>
          </a:p>
        </p:txBody>
      </p:sp>
      <p:sp>
        <p:nvSpPr>
          <p:cNvPr id="67" name="Subtitle 2">
            <a:extLst>
              <a:ext uri="{FF2B5EF4-FFF2-40B4-BE49-F238E27FC236}">
                <a16:creationId xmlns:a16="http://schemas.microsoft.com/office/drawing/2014/main" xmlns="" id="{6C14AE31-B32D-4780-9EF1-F12354D0EEF1}"/>
              </a:ext>
            </a:extLst>
          </p:cNvPr>
          <p:cNvSpPr txBox="1">
            <a:spLocks/>
          </p:cNvSpPr>
          <p:nvPr/>
        </p:nvSpPr>
        <p:spPr>
          <a:xfrm>
            <a:off x="5262758" y="4370305"/>
            <a:ext cx="1403465" cy="197362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Qualitative </a:t>
            </a:r>
            <a:r>
              <a:rPr lang="en-GB" sz="1800" dirty="0" err="1">
                <a:solidFill>
                  <a:srgbClr val="245473"/>
                </a:solidFill>
                <a:latin typeface="+mj-lt"/>
                <a:ea typeface="Lato Light" panose="020F0502020204030203" pitchFamily="34" charset="0"/>
                <a:cs typeface="Mukta ExtraLight" panose="020B0000000000000000" pitchFamily="34" charset="77"/>
              </a:rPr>
              <a:t>Kosten-rechnung</a:t>
            </a:r>
            <a:r>
              <a:rPr lang="en-GB" sz="1800" dirty="0">
                <a:solidFill>
                  <a:srgbClr val="245473"/>
                </a:solidFill>
                <a:latin typeface="+mj-lt"/>
                <a:ea typeface="Lato Light" panose="020F0502020204030203" pitchFamily="34" charset="0"/>
                <a:cs typeface="Mukta ExtraLight" panose="020B0000000000000000" pitchFamily="34" charset="77"/>
              </a:rPr>
              <a:t> (Transparenz der Gewinn- und </a:t>
            </a:r>
            <a:r>
              <a:rPr lang="en-GB" sz="1800" dirty="0" err="1">
                <a:solidFill>
                  <a:srgbClr val="245473"/>
                </a:solidFill>
                <a:latin typeface="+mj-lt"/>
                <a:ea typeface="Lato Light" panose="020F0502020204030203" pitchFamily="34" charset="0"/>
                <a:cs typeface="Mukta ExtraLight" panose="020B0000000000000000" pitchFamily="34" charset="77"/>
              </a:rPr>
              <a:t>Verlust-einheiten</a:t>
            </a:r>
            <a:r>
              <a:rPr lang="en-GB" sz="1800" dirty="0">
                <a:solidFill>
                  <a:srgbClr val="245473"/>
                </a:solidFill>
                <a:latin typeface="+mj-lt"/>
                <a:ea typeface="Lato Light" panose="020F0502020204030203" pitchFamily="34" charset="0"/>
                <a:cs typeface="Mukta ExtraLight" panose="020B0000000000000000" pitchFamily="34" charset="77"/>
              </a:rPr>
              <a:t>)</a:t>
            </a:r>
          </a:p>
        </p:txBody>
      </p:sp>
      <p:sp>
        <p:nvSpPr>
          <p:cNvPr id="68" name="Subtitle 2">
            <a:extLst>
              <a:ext uri="{FF2B5EF4-FFF2-40B4-BE49-F238E27FC236}">
                <a16:creationId xmlns:a16="http://schemas.microsoft.com/office/drawing/2014/main" xmlns="" id="{C08C58B0-EB71-41A8-AF9D-6E8742073E8E}"/>
              </a:ext>
            </a:extLst>
          </p:cNvPr>
          <p:cNvSpPr txBox="1">
            <a:spLocks/>
          </p:cNvSpPr>
          <p:nvPr/>
        </p:nvSpPr>
        <p:spPr>
          <a:xfrm>
            <a:off x="6884162" y="4028181"/>
            <a:ext cx="1617330" cy="27252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err="1">
                <a:solidFill>
                  <a:srgbClr val="245473"/>
                </a:solidFill>
                <a:latin typeface="+mj-lt"/>
                <a:ea typeface="Lato Light" panose="020F0502020204030203" pitchFamily="34" charset="0"/>
                <a:cs typeface="Mukta ExtraLight" panose="020B0000000000000000" pitchFamily="34" charset="77"/>
              </a:rPr>
              <a:t>Integrierte</a:t>
            </a:r>
            <a:r>
              <a:rPr lang="en-GB" sz="1600" dirty="0">
                <a:solidFill>
                  <a:srgbClr val="245473"/>
                </a:solidFill>
                <a:latin typeface="+mj-lt"/>
                <a:ea typeface="Lato Light" panose="020F0502020204030203" pitchFamily="34" charset="0"/>
                <a:cs typeface="Mukta ExtraLight" panose="020B0000000000000000" pitchFamily="34" charset="77"/>
              </a:rPr>
              <a:t> </a:t>
            </a:r>
            <a:r>
              <a:rPr lang="en-GB" sz="1600" dirty="0" err="1">
                <a:solidFill>
                  <a:srgbClr val="245473"/>
                </a:solidFill>
                <a:latin typeface="+mj-lt"/>
                <a:ea typeface="Lato Light" panose="020F0502020204030203" pitchFamily="34" charset="0"/>
                <a:cs typeface="Mukta ExtraLight" panose="020B0000000000000000" pitchFamily="34" charset="77"/>
              </a:rPr>
              <a:t>Unternehmens-planung</a:t>
            </a:r>
            <a:r>
              <a:rPr lang="en-GB" sz="1600" dirty="0">
                <a:solidFill>
                  <a:srgbClr val="245473"/>
                </a:solidFill>
                <a:latin typeface="+mj-lt"/>
                <a:ea typeface="Lato Light" panose="020F0502020204030203" pitchFamily="34" charset="0"/>
                <a:cs typeface="Mukta ExtraLight" panose="020B0000000000000000" pitchFamily="34" charset="77"/>
              </a:rPr>
              <a:t> (</a:t>
            </a:r>
            <a:r>
              <a:rPr lang="en-GB" sz="1600" dirty="0" err="1">
                <a:solidFill>
                  <a:srgbClr val="245473"/>
                </a:solidFill>
                <a:latin typeface="+mj-lt"/>
                <a:ea typeface="Lato Light" panose="020F0502020204030203" pitchFamily="34" charset="0"/>
                <a:cs typeface="Mukta ExtraLight" panose="020B0000000000000000" pitchFamily="34" charset="77"/>
              </a:rPr>
              <a:t>Erfolgs</a:t>
            </a:r>
            <a:r>
              <a:rPr lang="en-GB" sz="1600" dirty="0">
                <a:solidFill>
                  <a:srgbClr val="245473"/>
                </a:solidFill>
                <a:latin typeface="+mj-lt"/>
                <a:ea typeface="Lato Light" panose="020F0502020204030203" pitchFamily="34" charset="0"/>
                <a:cs typeface="Mukta ExtraLight" panose="020B0000000000000000" pitchFamily="34" charset="77"/>
              </a:rPr>
              <a:t>-, Bilanz- und </a:t>
            </a:r>
            <a:r>
              <a:rPr lang="en-GB" sz="1600" dirty="0" err="1">
                <a:solidFill>
                  <a:srgbClr val="245473"/>
                </a:solidFill>
                <a:latin typeface="+mj-lt"/>
                <a:ea typeface="Lato Light" panose="020F0502020204030203" pitchFamily="34" charset="0"/>
                <a:cs typeface="Mukta ExtraLight" panose="020B0000000000000000" pitchFamily="34" charset="77"/>
              </a:rPr>
              <a:t>Liquiditäts-planung</a:t>
            </a:r>
            <a:r>
              <a:rPr lang="en-GB" sz="1600" dirty="0">
                <a:solidFill>
                  <a:srgbClr val="245473"/>
                </a:solidFill>
                <a:latin typeface="+mj-lt"/>
                <a:ea typeface="Lato Light" panose="020F0502020204030203" pitchFamily="34" charset="0"/>
                <a:cs typeface="Mukta ExtraLight" panose="020B0000000000000000" pitchFamily="34" charset="77"/>
              </a:rPr>
              <a:t>). </a:t>
            </a:r>
            <a:r>
              <a:rPr lang="en-GB" sz="1600" dirty="0" err="1">
                <a:solidFill>
                  <a:srgbClr val="245473"/>
                </a:solidFill>
                <a:latin typeface="+mj-lt"/>
                <a:ea typeface="Lato Light" panose="020F0502020204030203" pitchFamily="34" charset="0"/>
                <a:cs typeface="Mukta ExtraLight" panose="020B0000000000000000" pitchFamily="34" charset="77"/>
              </a:rPr>
              <a:t>Ergänzend</a:t>
            </a:r>
            <a:r>
              <a:rPr lang="en-GB" sz="1600" dirty="0">
                <a:solidFill>
                  <a:srgbClr val="245473"/>
                </a:solidFill>
                <a:latin typeface="+mj-lt"/>
                <a:ea typeface="Lato Light" panose="020F0502020204030203" pitchFamily="34" charset="0"/>
                <a:cs typeface="Mukta ExtraLight" panose="020B0000000000000000" pitchFamily="34" charset="77"/>
              </a:rPr>
              <a:t> kurzfristige detaillierte Finanzplanung</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69" name="Subtitle 2">
            <a:extLst>
              <a:ext uri="{FF2B5EF4-FFF2-40B4-BE49-F238E27FC236}">
                <a16:creationId xmlns:a16="http://schemas.microsoft.com/office/drawing/2014/main" xmlns="" id="{141CCA65-AAB7-4DE3-A1BD-939C8411940A}"/>
              </a:ext>
            </a:extLst>
          </p:cNvPr>
          <p:cNvSpPr txBox="1">
            <a:spLocks/>
          </p:cNvSpPr>
          <p:nvPr/>
        </p:nvSpPr>
        <p:spPr>
          <a:xfrm>
            <a:off x="8504844" y="3580865"/>
            <a:ext cx="1469802" cy="314381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Rolling Forecast (ständige Anpassung der Planung)</a:t>
            </a:r>
          </a:p>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chtzeit-Plan: Soll-</a:t>
            </a:r>
            <a:r>
              <a:rPr lang="en-GB" sz="1800" dirty="0" err="1">
                <a:solidFill>
                  <a:srgbClr val="245473"/>
                </a:solidFill>
                <a:latin typeface="+mj-lt"/>
                <a:ea typeface="Lato Light" panose="020F0502020204030203" pitchFamily="34" charset="0"/>
                <a:cs typeface="Mukta ExtraLight" panose="020B0000000000000000" pitchFamily="34" charset="77"/>
              </a:rPr>
              <a:t>Ist</a:t>
            </a:r>
            <a:r>
              <a:rPr lang="en-GB" sz="1800" dirty="0">
                <a:solidFill>
                  <a:srgbClr val="245473"/>
                </a:solidFill>
                <a:latin typeface="+mj-lt"/>
                <a:ea typeface="Lato Light" panose="020F0502020204030203" pitchFamily="34" charset="0"/>
                <a:cs typeface="Mukta ExtraLight" panose="020B0000000000000000" pitchFamily="34" charset="77"/>
              </a:rPr>
              <a:t>-</a:t>
            </a:r>
            <a:r>
              <a:rPr lang="en-GB" sz="1800" dirty="0" err="1">
                <a:solidFill>
                  <a:srgbClr val="245473"/>
                </a:solidFill>
                <a:latin typeface="+mj-lt"/>
                <a:ea typeface="Lato Light" panose="020F0502020204030203" pitchFamily="34" charset="0"/>
                <a:cs typeface="Mukta ExtraLight" panose="020B0000000000000000" pitchFamily="34" charset="77"/>
              </a:rPr>
              <a:t>Vergleich</a:t>
            </a:r>
            <a:r>
              <a:rPr lang="en-GB" sz="1800" dirty="0">
                <a:solidFill>
                  <a:srgbClr val="245473"/>
                </a:solidFill>
                <a:latin typeface="+mj-lt"/>
                <a:ea typeface="Lato Light" panose="020F0502020204030203" pitchFamily="34" charset="0"/>
                <a:cs typeface="Mukta ExtraLight" panose="020B0000000000000000" pitchFamily="34" charset="77"/>
              </a:rPr>
              <a:t>/</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err="1">
                <a:solidFill>
                  <a:srgbClr val="245473"/>
                </a:solidFill>
                <a:latin typeface="+mj-lt"/>
                <a:ea typeface="Lato Light" panose="020F0502020204030203" pitchFamily="34" charset="0"/>
                <a:cs typeface="Mukta ExtraLight" panose="020B0000000000000000" pitchFamily="34" charset="77"/>
              </a:rPr>
              <a:t>Abweichungs</a:t>
            </a:r>
            <a:r>
              <a:rPr lang="en-GB" sz="1800" dirty="0">
                <a:solidFill>
                  <a:srgbClr val="245473"/>
                </a:solidFill>
                <a:latin typeface="+mj-lt"/>
                <a:ea typeface="Lato Light" panose="020F0502020204030203" pitchFamily="34" charset="0"/>
                <a:cs typeface="Mukta ExtraLight" panose="020B0000000000000000" pitchFamily="34" charset="77"/>
              </a:rPr>
              <a:t>-analyse</a:t>
            </a:r>
          </a:p>
          <a:p>
            <a:pPr algn="l">
              <a:lnSpc>
                <a:spcPts val="1313"/>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70" name="Subtitle 2">
            <a:extLst>
              <a:ext uri="{FF2B5EF4-FFF2-40B4-BE49-F238E27FC236}">
                <a16:creationId xmlns:a16="http://schemas.microsoft.com/office/drawing/2014/main" xmlns="" id="{70EC203E-2336-497F-8868-911BE45F9663}"/>
              </a:ext>
            </a:extLst>
          </p:cNvPr>
          <p:cNvSpPr txBox="1">
            <a:spLocks/>
          </p:cNvSpPr>
          <p:nvPr/>
        </p:nvSpPr>
        <p:spPr>
          <a:xfrm>
            <a:off x="10150733" y="3315458"/>
            <a:ext cx="1697556" cy="1573516"/>
          </a:xfrm>
          <a:prstGeom prst="rect">
            <a:avLst/>
          </a:prstGeom>
          <a:solidFill>
            <a:schemeClr val="accent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b="1" dirty="0">
                <a:solidFill>
                  <a:srgbClr val="245473"/>
                </a:solidFill>
                <a:latin typeface="+mj-lt"/>
                <a:ea typeface="Lato Light" panose="020F0502020204030203" pitchFamily="34" charset="0"/>
                <a:cs typeface="Mukta ExtraLight" panose="020B0000000000000000" pitchFamily="34" charset="77"/>
              </a:rPr>
              <a:t>Erarbeitung eines </a:t>
            </a:r>
            <a:r>
              <a:rPr lang="en-GB" sz="2000" b="1" dirty="0" err="1">
                <a:solidFill>
                  <a:srgbClr val="245473"/>
                </a:solidFill>
                <a:latin typeface="+mj-lt"/>
                <a:ea typeface="Lato Light" panose="020F0502020204030203" pitchFamily="34" charset="0"/>
                <a:cs typeface="Mukta ExtraLight" panose="020B0000000000000000" pitchFamily="34" charset="77"/>
              </a:rPr>
              <a:t>nachhaltigen</a:t>
            </a:r>
            <a:r>
              <a:rPr lang="en-GB" sz="2000" b="1" dirty="0">
                <a:solidFill>
                  <a:srgbClr val="245473"/>
                </a:solidFill>
                <a:latin typeface="+mj-lt"/>
                <a:ea typeface="Lato Light" panose="020F0502020204030203" pitchFamily="34" charset="0"/>
                <a:cs typeface="Mukta ExtraLight" panose="020B0000000000000000" pitchFamily="34" charset="77"/>
              </a:rPr>
              <a:t> </a:t>
            </a:r>
            <a:r>
              <a:rPr lang="en-GB" sz="2000" b="1" dirty="0" err="1">
                <a:solidFill>
                  <a:srgbClr val="245473"/>
                </a:solidFill>
                <a:latin typeface="+mj-lt"/>
                <a:ea typeface="Lato Light" panose="020F0502020204030203" pitchFamily="34" charset="0"/>
                <a:cs typeface="Mukta ExtraLight" panose="020B0000000000000000" pitchFamily="34" charset="77"/>
              </a:rPr>
              <a:t>Restrukturie-rungskonzepts</a:t>
            </a:r>
            <a:endParaRPr lang="en-GB" sz="2000" b="1" dirty="0">
              <a:solidFill>
                <a:srgbClr val="245473"/>
              </a:solidFill>
              <a:latin typeface="+mj-lt"/>
              <a:ea typeface="Lato Light" panose="020F0502020204030203" pitchFamily="34" charset="0"/>
              <a:cs typeface="Mukta ExtraLight" panose="020B0000000000000000" pitchFamily="34" charset="77"/>
            </a:endParaRPr>
          </a:p>
        </p:txBody>
      </p:sp>
      <p:sp>
        <p:nvSpPr>
          <p:cNvPr id="71" name="Freeform 18">
            <a:extLst>
              <a:ext uri="{FF2B5EF4-FFF2-40B4-BE49-F238E27FC236}">
                <a16:creationId xmlns:a16="http://schemas.microsoft.com/office/drawing/2014/main" xmlns="" id="{4B5C7710-F2E3-4BE5-B276-D245E909760F}"/>
              </a:ext>
            </a:extLst>
          </p:cNvPr>
          <p:cNvSpPr>
            <a:spLocks noChangeArrowheads="1"/>
          </p:cNvSpPr>
          <p:nvPr/>
        </p:nvSpPr>
        <p:spPr bwMode="auto">
          <a:xfrm>
            <a:off x="3917002" y="2985141"/>
            <a:ext cx="127834" cy="132797"/>
          </a:xfrm>
          <a:custGeom>
            <a:avLst/>
            <a:gdLst>
              <a:gd name="T0" fmla="*/ 248 w 453"/>
              <a:gd name="T1" fmla="*/ 462 h 471"/>
              <a:gd name="T2" fmla="*/ 248 w 453"/>
              <a:gd name="T3" fmla="*/ 462 h 471"/>
              <a:gd name="T4" fmla="*/ 215 w 453"/>
              <a:gd name="T5" fmla="*/ 457 h 471"/>
              <a:gd name="T6" fmla="*/ 9 w 453"/>
              <a:gd name="T7" fmla="*/ 188 h 471"/>
              <a:gd name="T8" fmla="*/ 9 w 453"/>
              <a:gd name="T9" fmla="*/ 188 h 471"/>
              <a:gd name="T10" fmla="*/ 13 w 453"/>
              <a:gd name="T11" fmla="*/ 155 h 471"/>
              <a:gd name="T12" fmla="*/ 204 w 453"/>
              <a:gd name="T13" fmla="*/ 9 h 471"/>
              <a:gd name="T14" fmla="*/ 204 w 453"/>
              <a:gd name="T15" fmla="*/ 9 h 471"/>
              <a:gd name="T16" fmla="*/ 237 w 453"/>
              <a:gd name="T17" fmla="*/ 13 h 471"/>
              <a:gd name="T18" fmla="*/ 443 w 453"/>
              <a:gd name="T19" fmla="*/ 282 h 471"/>
              <a:gd name="T20" fmla="*/ 443 w 453"/>
              <a:gd name="T21" fmla="*/ 282 h 471"/>
              <a:gd name="T22" fmla="*/ 439 w 453"/>
              <a:gd name="T23" fmla="*/ 315 h 471"/>
              <a:gd name="T24" fmla="*/ 248 w 453"/>
              <a:gd name="T25" fmla="*/ 46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3" h="471">
                <a:moveTo>
                  <a:pt x="248" y="462"/>
                </a:moveTo>
                <a:lnTo>
                  <a:pt x="248" y="462"/>
                </a:lnTo>
                <a:cubicBezTo>
                  <a:pt x="237" y="470"/>
                  <a:pt x="223" y="469"/>
                  <a:pt x="215" y="457"/>
                </a:cubicBezTo>
                <a:lnTo>
                  <a:pt x="9" y="188"/>
                </a:lnTo>
                <a:lnTo>
                  <a:pt x="9" y="188"/>
                </a:lnTo>
                <a:cubicBezTo>
                  <a:pt x="0" y="178"/>
                  <a:pt x="3" y="163"/>
                  <a:pt x="13" y="155"/>
                </a:cubicBezTo>
                <a:lnTo>
                  <a:pt x="204" y="9"/>
                </a:lnTo>
                <a:lnTo>
                  <a:pt x="204" y="9"/>
                </a:lnTo>
                <a:cubicBezTo>
                  <a:pt x="215" y="0"/>
                  <a:pt x="230" y="3"/>
                  <a:pt x="237" y="13"/>
                </a:cubicBezTo>
                <a:lnTo>
                  <a:pt x="443" y="282"/>
                </a:lnTo>
                <a:lnTo>
                  <a:pt x="443" y="282"/>
                </a:lnTo>
                <a:cubicBezTo>
                  <a:pt x="452" y="294"/>
                  <a:pt x="449" y="308"/>
                  <a:pt x="439" y="315"/>
                </a:cubicBezTo>
                <a:lnTo>
                  <a:pt x="248" y="462"/>
                </a:lnTo>
              </a:path>
            </a:pathLst>
          </a:custGeom>
          <a:solidFill>
            <a:schemeClr val="accent1">
              <a:lumMod val="40000"/>
              <a:lumOff val="60000"/>
            </a:schemeClr>
          </a:solidFill>
          <a:ln>
            <a:noFill/>
          </a:ln>
          <a:effectLst/>
        </p:spPr>
        <p:txBody>
          <a:bodyPr wrap="none" anchor="ctr"/>
          <a:lstStyle/>
          <a:p>
            <a:endParaRPr lang="en-GB" sz="2450" dirty="0">
              <a:latin typeface="+mj-lt"/>
            </a:endParaRPr>
          </a:p>
        </p:txBody>
      </p:sp>
    </p:spTree>
    <p:extLst>
      <p:ext uri="{BB962C8B-B14F-4D97-AF65-F5344CB8AC3E}">
        <p14:creationId xmlns:p14="http://schemas.microsoft.com/office/powerpoint/2010/main" val="388820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1447686" y="498466"/>
            <a:ext cx="8852375" cy="697353"/>
          </a:xfrm>
        </p:spPr>
        <p:txBody>
          <a:bodyPr>
            <a:noAutofit/>
          </a:bodyPr>
          <a:lstStyle/>
          <a:p>
            <a:r>
              <a:rPr lang="en-GB" dirty="0"/>
              <a:t>Verringerung der Auswirkungen der Krise - Abschwächung</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284345" y="2142491"/>
            <a:ext cx="2541024" cy="377569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rgbClr val="245473"/>
                </a:solidFill>
                <a:latin typeface="+mj-lt"/>
                <a:ea typeface="Open Sans Light" panose="020B0306030504020204" pitchFamily="34" charset="0"/>
                <a:cs typeface="Open Sans Light" panose="020B0306030504020204" pitchFamily="34" charset="0"/>
              </a:rPr>
              <a:t>Um irreversible Folgen zu vermeiden, muss zunächst die Insolvenzreife abgewendet und </a:t>
            </a:r>
            <a:r>
              <a:rPr lang="en-GB" dirty="0" err="1">
                <a:solidFill>
                  <a:srgbClr val="245473"/>
                </a:solidFill>
                <a:latin typeface="+mj-lt"/>
                <a:ea typeface="Open Sans Light" panose="020B0306030504020204" pitchFamily="34" charset="0"/>
                <a:cs typeface="Open Sans Light" panose="020B0306030504020204" pitchFamily="34" charset="0"/>
              </a:rPr>
              <a:t>anschließend</a:t>
            </a:r>
            <a:r>
              <a:rPr lang="en-GB" dirty="0">
                <a:solidFill>
                  <a:srgbClr val="245473"/>
                </a:solidFill>
                <a:latin typeface="+mj-lt"/>
                <a:ea typeface="Open Sans Light" panose="020B0306030504020204" pitchFamily="34" charset="0"/>
                <a:cs typeface="Open Sans Light" panose="020B0306030504020204" pitchFamily="34" charset="0"/>
              </a:rPr>
              <a:t> die Liquiditätskrise dauerhaft behoben werden.</a:t>
            </a:r>
            <a:endParaRPr lang="en-US" sz="2800" dirty="0">
              <a:solidFill>
                <a:srgbClr val="245473"/>
              </a:solidFill>
            </a:endParaRPr>
          </a:p>
        </p:txBody>
      </p:sp>
      <p:sp>
        <p:nvSpPr>
          <p:cNvPr id="24" name="Chevron 1">
            <a:extLst>
              <a:ext uri="{FF2B5EF4-FFF2-40B4-BE49-F238E27FC236}">
                <a16:creationId xmlns:a16="http://schemas.microsoft.com/office/drawing/2014/main" xmlns="" id="{FDD36281-1E25-4D30-9E84-C77A5C38F4BA}"/>
              </a:ext>
            </a:extLst>
          </p:cNvPr>
          <p:cNvSpPr/>
          <p:nvPr/>
        </p:nvSpPr>
        <p:spPr>
          <a:xfrm>
            <a:off x="3203910" y="1912112"/>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25" name="Chevron 2">
            <a:extLst>
              <a:ext uri="{FF2B5EF4-FFF2-40B4-BE49-F238E27FC236}">
                <a16:creationId xmlns:a16="http://schemas.microsoft.com/office/drawing/2014/main" xmlns="" id="{2E9833ED-FC99-42BC-8406-06A2341CC685}"/>
              </a:ext>
            </a:extLst>
          </p:cNvPr>
          <p:cNvSpPr/>
          <p:nvPr/>
        </p:nvSpPr>
        <p:spPr>
          <a:xfrm>
            <a:off x="4661389" y="1912112"/>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2" name="Chevron 3">
            <a:extLst>
              <a:ext uri="{FF2B5EF4-FFF2-40B4-BE49-F238E27FC236}">
                <a16:creationId xmlns:a16="http://schemas.microsoft.com/office/drawing/2014/main" xmlns="" id="{77F1EE87-03C2-4032-B6B5-6AF96811AA4D}"/>
              </a:ext>
            </a:extLst>
          </p:cNvPr>
          <p:cNvSpPr/>
          <p:nvPr/>
        </p:nvSpPr>
        <p:spPr>
          <a:xfrm>
            <a:off x="6118868" y="1912112"/>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3" name="Chevron 4">
            <a:extLst>
              <a:ext uri="{FF2B5EF4-FFF2-40B4-BE49-F238E27FC236}">
                <a16:creationId xmlns:a16="http://schemas.microsoft.com/office/drawing/2014/main" xmlns="" id="{6A6E61BE-128F-4FFC-A420-376B8A19C41B}"/>
              </a:ext>
            </a:extLst>
          </p:cNvPr>
          <p:cNvSpPr/>
          <p:nvPr/>
        </p:nvSpPr>
        <p:spPr>
          <a:xfrm>
            <a:off x="7576347" y="1912112"/>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4" name="Chevron 5">
            <a:extLst>
              <a:ext uri="{FF2B5EF4-FFF2-40B4-BE49-F238E27FC236}">
                <a16:creationId xmlns:a16="http://schemas.microsoft.com/office/drawing/2014/main" xmlns="" id="{A2DBF5D2-08FB-49B1-A1D4-845972FEE188}"/>
              </a:ext>
            </a:extLst>
          </p:cNvPr>
          <p:cNvSpPr/>
          <p:nvPr/>
        </p:nvSpPr>
        <p:spPr>
          <a:xfrm>
            <a:off x="9033826" y="1912112"/>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45" name="TextBox 14">
            <a:extLst>
              <a:ext uri="{FF2B5EF4-FFF2-40B4-BE49-F238E27FC236}">
                <a16:creationId xmlns:a16="http://schemas.microsoft.com/office/drawing/2014/main" xmlns="" id="{2138276A-9978-4B37-97EF-DF00BC9338D0}"/>
              </a:ext>
            </a:extLst>
          </p:cNvPr>
          <p:cNvSpPr txBox="1"/>
          <p:nvPr/>
        </p:nvSpPr>
        <p:spPr>
          <a:xfrm>
            <a:off x="3426881" y="1881151"/>
            <a:ext cx="1233279"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Krise</a:t>
            </a:r>
          </a:p>
        </p:txBody>
      </p:sp>
      <p:sp>
        <p:nvSpPr>
          <p:cNvPr id="46" name="TextBox 15">
            <a:extLst>
              <a:ext uri="{FF2B5EF4-FFF2-40B4-BE49-F238E27FC236}">
                <a16:creationId xmlns:a16="http://schemas.microsoft.com/office/drawing/2014/main" xmlns="" id="{EF56AA4F-DA47-4B34-94BC-5272379460E7}"/>
              </a:ext>
            </a:extLst>
          </p:cNvPr>
          <p:cNvSpPr txBox="1"/>
          <p:nvPr/>
        </p:nvSpPr>
        <p:spPr>
          <a:xfrm>
            <a:off x="4711114" y="2004262"/>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ie Krise</a:t>
            </a:r>
          </a:p>
        </p:txBody>
      </p:sp>
      <p:sp>
        <p:nvSpPr>
          <p:cNvPr id="47" name="TextBox 16">
            <a:extLst>
              <a:ext uri="{FF2B5EF4-FFF2-40B4-BE49-F238E27FC236}">
                <a16:creationId xmlns:a16="http://schemas.microsoft.com/office/drawing/2014/main" xmlns="" id="{A026F4D4-E51E-4795-9850-E63F88879C21}"/>
              </a:ext>
            </a:extLst>
          </p:cNvPr>
          <p:cNvSpPr txBox="1"/>
          <p:nvPr/>
        </p:nvSpPr>
        <p:spPr>
          <a:xfrm>
            <a:off x="6139279" y="1887860"/>
            <a:ext cx="1384617"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kt-/Verkaufskrise</a:t>
            </a:r>
          </a:p>
        </p:txBody>
      </p:sp>
      <p:sp>
        <p:nvSpPr>
          <p:cNvPr id="48" name="TextBox 17">
            <a:extLst>
              <a:ext uri="{FF2B5EF4-FFF2-40B4-BE49-F238E27FC236}">
                <a16:creationId xmlns:a16="http://schemas.microsoft.com/office/drawing/2014/main" xmlns="" id="{879A0AA7-AF6A-41B6-A622-32C84FB394C9}"/>
              </a:ext>
            </a:extLst>
          </p:cNvPr>
          <p:cNvSpPr txBox="1"/>
          <p:nvPr/>
        </p:nvSpPr>
        <p:spPr>
          <a:xfrm>
            <a:off x="7835948" y="1881151"/>
            <a:ext cx="1105002"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Ertrags-krise</a:t>
            </a:r>
            <a:endParaRPr lang="en-GB" sz="1600" b="1" dirty="0">
              <a:solidFill>
                <a:schemeClr val="bg1"/>
              </a:solidFill>
              <a:latin typeface="+mj-lt"/>
              <a:ea typeface="League Spartan" charset="0"/>
              <a:cs typeface="Poppins" pitchFamily="2" charset="77"/>
            </a:endParaRPr>
          </a:p>
        </p:txBody>
      </p:sp>
      <p:sp>
        <p:nvSpPr>
          <p:cNvPr id="49" name="TextBox 18">
            <a:extLst>
              <a:ext uri="{FF2B5EF4-FFF2-40B4-BE49-F238E27FC236}">
                <a16:creationId xmlns:a16="http://schemas.microsoft.com/office/drawing/2014/main" xmlns="" id="{A65579BF-7149-497B-B238-F2458C229B2D}"/>
              </a:ext>
            </a:extLst>
          </p:cNvPr>
          <p:cNvSpPr txBox="1"/>
          <p:nvPr/>
        </p:nvSpPr>
        <p:spPr>
          <a:xfrm>
            <a:off x="8987927" y="1881151"/>
            <a:ext cx="1300286"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Liquiditäts-krise</a:t>
            </a:r>
            <a:endParaRPr lang="en-GB" sz="1600" b="1" dirty="0">
              <a:solidFill>
                <a:schemeClr val="bg1"/>
              </a:solidFill>
              <a:latin typeface="+mj-lt"/>
              <a:ea typeface="League Spartan" charset="0"/>
              <a:cs typeface="Poppins" pitchFamily="2" charset="77"/>
            </a:endParaRPr>
          </a:p>
        </p:txBody>
      </p:sp>
      <p:sp>
        <p:nvSpPr>
          <p:cNvPr id="50" name="Chevron 5">
            <a:extLst>
              <a:ext uri="{FF2B5EF4-FFF2-40B4-BE49-F238E27FC236}">
                <a16:creationId xmlns:a16="http://schemas.microsoft.com/office/drawing/2014/main" xmlns="" id="{7433D156-64F4-4832-83C0-1E5C51EF5438}"/>
              </a:ext>
            </a:extLst>
          </p:cNvPr>
          <p:cNvSpPr/>
          <p:nvPr/>
        </p:nvSpPr>
        <p:spPr>
          <a:xfrm>
            <a:off x="10491305" y="191398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51" name="TextBox 18">
            <a:extLst>
              <a:ext uri="{FF2B5EF4-FFF2-40B4-BE49-F238E27FC236}">
                <a16:creationId xmlns:a16="http://schemas.microsoft.com/office/drawing/2014/main" xmlns="" id="{BEC1024D-362E-448E-97D1-715729F45C6F}"/>
              </a:ext>
            </a:extLst>
          </p:cNvPr>
          <p:cNvSpPr txBox="1"/>
          <p:nvPr/>
        </p:nvSpPr>
        <p:spPr>
          <a:xfrm>
            <a:off x="10710953" y="2004261"/>
            <a:ext cx="1106422" cy="338554"/>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Insolvenz</a:t>
            </a:r>
            <a:endParaRPr lang="en-GB" sz="1600" b="1" dirty="0">
              <a:solidFill>
                <a:schemeClr val="bg1"/>
              </a:solidFill>
              <a:latin typeface="+mj-lt"/>
              <a:ea typeface="League Spartan" charset="0"/>
              <a:cs typeface="Poppins" pitchFamily="2" charset="77"/>
            </a:endParaRPr>
          </a:p>
        </p:txBody>
      </p:sp>
      <p:grpSp>
        <p:nvGrpSpPr>
          <p:cNvPr id="3" name="Gruppieren 2">
            <a:extLst>
              <a:ext uri="{FF2B5EF4-FFF2-40B4-BE49-F238E27FC236}">
                <a16:creationId xmlns:a16="http://schemas.microsoft.com/office/drawing/2014/main" xmlns="" id="{7B74D334-0DAF-4000-AACA-609675FF0363}"/>
              </a:ext>
            </a:extLst>
          </p:cNvPr>
          <p:cNvGrpSpPr/>
          <p:nvPr/>
        </p:nvGrpSpPr>
        <p:grpSpPr>
          <a:xfrm rot="5400000">
            <a:off x="7109926" y="2554271"/>
            <a:ext cx="779420" cy="884886"/>
            <a:chOff x="2524558" y="1670769"/>
            <a:chExt cx="1575015" cy="1606818"/>
          </a:xfrm>
        </p:grpSpPr>
        <p:sp>
          <p:nvSpPr>
            <p:cNvPr id="28" name="Rounded Rectangle 60">
              <a:extLst>
                <a:ext uri="{FF2B5EF4-FFF2-40B4-BE49-F238E27FC236}">
                  <a16:creationId xmlns:a16="http://schemas.microsoft.com/office/drawing/2014/main" xmlns="" id="{A59B24D1-0AF7-4998-BDA2-DCF4321D59E1}"/>
                </a:ext>
              </a:extLst>
            </p:cNvPr>
            <p:cNvSpPr/>
            <p:nvPr/>
          </p:nvSpPr>
          <p:spPr>
            <a:xfrm>
              <a:off x="2524558" y="2247459"/>
              <a:ext cx="1575015" cy="456996"/>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29" name="Rounded Rectangle 63">
              <a:extLst>
                <a:ext uri="{FF2B5EF4-FFF2-40B4-BE49-F238E27FC236}">
                  <a16:creationId xmlns:a16="http://schemas.microsoft.com/office/drawing/2014/main" xmlns="" id="{C1D69A23-7280-475E-89FB-2E1CFE036B65}"/>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0" name="Rounded Rectangle 62">
              <a:extLst>
                <a:ext uri="{FF2B5EF4-FFF2-40B4-BE49-F238E27FC236}">
                  <a16:creationId xmlns:a16="http://schemas.microsoft.com/office/drawing/2014/main" xmlns="" id="{6CC106A5-E79A-410B-97CB-D5FD8BBF736B}"/>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
        <p:nvSpPr>
          <p:cNvPr id="32" name="TextBox 106">
            <a:extLst>
              <a:ext uri="{FF2B5EF4-FFF2-40B4-BE49-F238E27FC236}">
                <a16:creationId xmlns:a16="http://schemas.microsoft.com/office/drawing/2014/main" xmlns="" id="{3A6765D1-A0A5-423D-9195-8762C6239F1C}"/>
              </a:ext>
            </a:extLst>
          </p:cNvPr>
          <p:cNvSpPr txBox="1"/>
          <p:nvPr/>
        </p:nvSpPr>
        <p:spPr>
          <a:xfrm>
            <a:off x="7835947" y="2690632"/>
            <a:ext cx="4131346" cy="830997"/>
          </a:xfrm>
          <a:prstGeom prst="rect">
            <a:avLst/>
          </a:prstGeom>
          <a:noFill/>
        </p:spPr>
        <p:txBody>
          <a:bodyPr wrap="square" lIns="91440" tIns="45720" rIns="91440" bIns="45720" rtlCol="0" anchor="b" anchorCtr="0">
            <a:spAutoFit/>
          </a:bodyPr>
          <a:lstStyle/>
          <a:p>
            <a:r>
              <a:rPr lang="en-GB" sz="1600" b="1" dirty="0">
                <a:solidFill>
                  <a:srgbClr val="245473"/>
                </a:solidFill>
                <a:latin typeface="+mj-lt"/>
                <a:ea typeface="League Spartan" charset="0"/>
                <a:cs typeface="Poppins" pitchFamily="2" charset="77"/>
              </a:rPr>
              <a:t>Das Vorgehen </a:t>
            </a:r>
            <a:r>
              <a:rPr lang="en-GB" sz="1600" b="1" dirty="0" err="1">
                <a:solidFill>
                  <a:srgbClr val="245473"/>
                </a:solidFill>
                <a:latin typeface="+mj-lt"/>
                <a:ea typeface="League Spartan" charset="0"/>
                <a:cs typeface="Poppins" pitchFamily="2" charset="77"/>
              </a:rPr>
              <a:t>beim</a:t>
            </a:r>
            <a:r>
              <a:rPr lang="en-GB" sz="1600" b="1" dirty="0">
                <a:solidFill>
                  <a:srgbClr val="245473"/>
                </a:solidFill>
                <a:latin typeface="+mj-lt"/>
                <a:ea typeface="League Spartan" charset="0"/>
                <a:cs typeface="Poppins" pitchFamily="2" charset="77"/>
              </a:rPr>
              <a:t> </a:t>
            </a:r>
            <a:r>
              <a:rPr lang="en-GB" sz="1600" b="1" dirty="0" err="1">
                <a:solidFill>
                  <a:srgbClr val="245473"/>
                </a:solidFill>
                <a:latin typeface="+mj-lt"/>
                <a:ea typeface="League Spartan" charset="0"/>
                <a:cs typeface="Poppins" pitchFamily="2" charset="77"/>
              </a:rPr>
              <a:t>Krisenmanagement</a:t>
            </a:r>
            <a:r>
              <a:rPr lang="en-GB" sz="1600" b="1" dirty="0">
                <a:solidFill>
                  <a:srgbClr val="245473"/>
                </a:solidFill>
                <a:latin typeface="+mj-lt"/>
                <a:ea typeface="League Spartan" charset="0"/>
                <a:cs typeface="Poppins" pitchFamily="2" charset="77"/>
              </a:rPr>
              <a:t> folgt der</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entgegengesetzten Struktur der Krisenphasen</a:t>
            </a:r>
            <a:br>
              <a:rPr lang="en-GB" sz="1600" b="1" dirty="0">
                <a:solidFill>
                  <a:srgbClr val="245473"/>
                </a:solidFill>
                <a:latin typeface="+mj-lt"/>
                <a:ea typeface="League Spartan" charset="0"/>
                <a:cs typeface="Poppins" pitchFamily="2" charset="77"/>
              </a:rPr>
            </a:br>
            <a:endParaRPr lang="en-GB" sz="1600" b="1" dirty="0">
              <a:solidFill>
                <a:srgbClr val="245473"/>
              </a:solidFill>
              <a:latin typeface="+mj-lt"/>
              <a:ea typeface="League Spartan" charset="0"/>
              <a:cs typeface="Poppins" pitchFamily="2" charset="77"/>
            </a:endParaRPr>
          </a:p>
        </p:txBody>
      </p:sp>
      <p:sp>
        <p:nvSpPr>
          <p:cNvPr id="62" name="Chevron 5">
            <a:extLst>
              <a:ext uri="{FF2B5EF4-FFF2-40B4-BE49-F238E27FC236}">
                <a16:creationId xmlns:a16="http://schemas.microsoft.com/office/drawing/2014/main" xmlns="" id="{4F60DCE7-049F-41CC-9A40-D907D267BB8D}"/>
              </a:ext>
            </a:extLst>
          </p:cNvPr>
          <p:cNvSpPr/>
          <p:nvPr/>
        </p:nvSpPr>
        <p:spPr>
          <a:xfrm>
            <a:off x="3203910" y="3938710"/>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3" name="TextBox 18">
            <a:extLst>
              <a:ext uri="{FF2B5EF4-FFF2-40B4-BE49-F238E27FC236}">
                <a16:creationId xmlns:a16="http://schemas.microsoft.com/office/drawing/2014/main" xmlns="" id="{F41A124D-CFE4-44DF-A466-4F6D87E92A4F}"/>
              </a:ext>
            </a:extLst>
          </p:cNvPr>
          <p:cNvSpPr txBox="1"/>
          <p:nvPr/>
        </p:nvSpPr>
        <p:spPr>
          <a:xfrm>
            <a:off x="3428672" y="4028991"/>
            <a:ext cx="1106422" cy="338554"/>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Insolvenz</a:t>
            </a:r>
            <a:endParaRPr lang="en-GB" sz="1600" b="1" dirty="0">
              <a:solidFill>
                <a:schemeClr val="bg1"/>
              </a:solidFill>
              <a:latin typeface="+mj-lt"/>
              <a:ea typeface="League Spartan" charset="0"/>
              <a:cs typeface="Poppins" pitchFamily="2" charset="77"/>
            </a:endParaRPr>
          </a:p>
        </p:txBody>
      </p:sp>
      <p:sp>
        <p:nvSpPr>
          <p:cNvPr id="64" name="Chevron 5">
            <a:extLst>
              <a:ext uri="{FF2B5EF4-FFF2-40B4-BE49-F238E27FC236}">
                <a16:creationId xmlns:a16="http://schemas.microsoft.com/office/drawing/2014/main" xmlns="" id="{2AD642B4-CD5B-410D-8D4A-A7BFA8047881}"/>
              </a:ext>
            </a:extLst>
          </p:cNvPr>
          <p:cNvSpPr/>
          <p:nvPr/>
        </p:nvSpPr>
        <p:spPr>
          <a:xfrm>
            <a:off x="4661389" y="3948896"/>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5" name="TextBox 18">
            <a:extLst>
              <a:ext uri="{FF2B5EF4-FFF2-40B4-BE49-F238E27FC236}">
                <a16:creationId xmlns:a16="http://schemas.microsoft.com/office/drawing/2014/main" xmlns="" id="{D4ECC176-5179-4EE2-91CE-0506CDD697EF}"/>
              </a:ext>
            </a:extLst>
          </p:cNvPr>
          <p:cNvSpPr txBox="1"/>
          <p:nvPr/>
        </p:nvSpPr>
        <p:spPr>
          <a:xfrm>
            <a:off x="4948989" y="3912821"/>
            <a:ext cx="1081027"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Liquiditäts-krise</a:t>
            </a:r>
            <a:endParaRPr lang="en-GB" sz="1600" b="1" dirty="0">
              <a:solidFill>
                <a:schemeClr val="bg1"/>
              </a:solidFill>
              <a:latin typeface="+mj-lt"/>
              <a:ea typeface="League Spartan" charset="0"/>
              <a:cs typeface="Poppins" pitchFamily="2" charset="77"/>
            </a:endParaRPr>
          </a:p>
        </p:txBody>
      </p:sp>
      <p:sp>
        <p:nvSpPr>
          <p:cNvPr id="66" name="Chevron 4">
            <a:extLst>
              <a:ext uri="{FF2B5EF4-FFF2-40B4-BE49-F238E27FC236}">
                <a16:creationId xmlns:a16="http://schemas.microsoft.com/office/drawing/2014/main" xmlns="" id="{29F97140-A136-4A51-ADA6-6F6E8A2FC5EC}"/>
              </a:ext>
            </a:extLst>
          </p:cNvPr>
          <p:cNvSpPr/>
          <p:nvPr/>
        </p:nvSpPr>
        <p:spPr>
          <a:xfrm>
            <a:off x="6128736" y="3938710"/>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7" name="TextBox 17">
            <a:extLst>
              <a:ext uri="{FF2B5EF4-FFF2-40B4-BE49-F238E27FC236}">
                <a16:creationId xmlns:a16="http://schemas.microsoft.com/office/drawing/2014/main" xmlns="" id="{A13B9F6E-4DA7-48AE-A5CA-DE072B3450E8}"/>
              </a:ext>
            </a:extLst>
          </p:cNvPr>
          <p:cNvSpPr txBox="1"/>
          <p:nvPr/>
        </p:nvSpPr>
        <p:spPr>
          <a:xfrm>
            <a:off x="6452715" y="3907749"/>
            <a:ext cx="925677"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Ertrags-krise</a:t>
            </a:r>
            <a:endParaRPr lang="en-GB" sz="1600" b="1" dirty="0">
              <a:solidFill>
                <a:schemeClr val="bg1"/>
              </a:solidFill>
              <a:latin typeface="+mj-lt"/>
              <a:ea typeface="League Spartan" charset="0"/>
              <a:cs typeface="Poppins" pitchFamily="2" charset="77"/>
            </a:endParaRPr>
          </a:p>
        </p:txBody>
      </p:sp>
      <p:sp>
        <p:nvSpPr>
          <p:cNvPr id="68" name="Chevron 3">
            <a:extLst>
              <a:ext uri="{FF2B5EF4-FFF2-40B4-BE49-F238E27FC236}">
                <a16:creationId xmlns:a16="http://schemas.microsoft.com/office/drawing/2014/main" xmlns="" id="{06469C4B-44E5-4FC0-8F4A-70688C97D6B9}"/>
              </a:ext>
            </a:extLst>
          </p:cNvPr>
          <p:cNvSpPr/>
          <p:nvPr/>
        </p:nvSpPr>
        <p:spPr>
          <a:xfrm>
            <a:off x="7581281" y="3936107"/>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69" name="TextBox 16">
            <a:extLst>
              <a:ext uri="{FF2B5EF4-FFF2-40B4-BE49-F238E27FC236}">
                <a16:creationId xmlns:a16="http://schemas.microsoft.com/office/drawing/2014/main" xmlns="" id="{71C192AE-3451-4B69-8025-48699E07C90A}"/>
              </a:ext>
            </a:extLst>
          </p:cNvPr>
          <p:cNvSpPr txBox="1"/>
          <p:nvPr/>
        </p:nvSpPr>
        <p:spPr>
          <a:xfrm>
            <a:off x="7596111" y="3905146"/>
            <a:ext cx="1485024"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kt-/Verkaufskrise</a:t>
            </a:r>
          </a:p>
        </p:txBody>
      </p:sp>
      <p:sp>
        <p:nvSpPr>
          <p:cNvPr id="70" name="Chevron 2">
            <a:extLst>
              <a:ext uri="{FF2B5EF4-FFF2-40B4-BE49-F238E27FC236}">
                <a16:creationId xmlns:a16="http://schemas.microsoft.com/office/drawing/2014/main" xmlns="" id="{2EAE1888-B893-48F9-A72D-84A72FCCDBC2}"/>
              </a:ext>
            </a:extLst>
          </p:cNvPr>
          <p:cNvSpPr/>
          <p:nvPr/>
        </p:nvSpPr>
        <p:spPr>
          <a:xfrm>
            <a:off x="9033826" y="3937409"/>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tx1"/>
              </a:solidFill>
              <a:latin typeface="+mj-lt"/>
            </a:endParaRPr>
          </a:p>
        </p:txBody>
      </p:sp>
      <p:sp>
        <p:nvSpPr>
          <p:cNvPr id="71" name="TextBox 15">
            <a:extLst>
              <a:ext uri="{FF2B5EF4-FFF2-40B4-BE49-F238E27FC236}">
                <a16:creationId xmlns:a16="http://schemas.microsoft.com/office/drawing/2014/main" xmlns="" id="{26EF84C7-47F3-4E7E-B7A4-EEC79B30DE24}"/>
              </a:ext>
            </a:extLst>
          </p:cNvPr>
          <p:cNvSpPr txBox="1"/>
          <p:nvPr/>
        </p:nvSpPr>
        <p:spPr>
          <a:xfrm>
            <a:off x="9083551" y="4029559"/>
            <a:ext cx="1418141" cy="338554"/>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rategie Krise</a:t>
            </a:r>
          </a:p>
        </p:txBody>
      </p:sp>
      <p:sp>
        <p:nvSpPr>
          <p:cNvPr id="72" name="Chevron 1">
            <a:extLst>
              <a:ext uri="{FF2B5EF4-FFF2-40B4-BE49-F238E27FC236}">
                <a16:creationId xmlns:a16="http://schemas.microsoft.com/office/drawing/2014/main" xmlns="" id="{A29364BA-B985-41E7-BDE5-FD1A40B12EAB}"/>
              </a:ext>
            </a:extLst>
          </p:cNvPr>
          <p:cNvSpPr/>
          <p:nvPr/>
        </p:nvSpPr>
        <p:spPr>
          <a:xfrm>
            <a:off x="10492213" y="3936833"/>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73" name="TextBox 14">
            <a:extLst>
              <a:ext uri="{FF2B5EF4-FFF2-40B4-BE49-F238E27FC236}">
                <a16:creationId xmlns:a16="http://schemas.microsoft.com/office/drawing/2014/main" xmlns="" id="{577AC415-139B-40B9-98B1-E49AF12CB957}"/>
              </a:ext>
            </a:extLst>
          </p:cNvPr>
          <p:cNvSpPr txBox="1"/>
          <p:nvPr/>
        </p:nvSpPr>
        <p:spPr>
          <a:xfrm>
            <a:off x="10710070" y="3905872"/>
            <a:ext cx="1304876"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Krise</a:t>
            </a:r>
          </a:p>
        </p:txBody>
      </p:sp>
      <p:sp>
        <p:nvSpPr>
          <p:cNvPr id="74" name="Subtitle 2">
            <a:extLst>
              <a:ext uri="{FF2B5EF4-FFF2-40B4-BE49-F238E27FC236}">
                <a16:creationId xmlns:a16="http://schemas.microsoft.com/office/drawing/2014/main" xmlns="" id="{CF4E32C1-8144-49D5-9524-894A03EF7574}"/>
              </a:ext>
            </a:extLst>
          </p:cNvPr>
          <p:cNvSpPr txBox="1">
            <a:spLocks/>
          </p:cNvSpPr>
          <p:nvPr/>
        </p:nvSpPr>
        <p:spPr>
          <a:xfrm>
            <a:off x="3250959" y="4559154"/>
            <a:ext cx="1266235" cy="71392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err="1">
                <a:solidFill>
                  <a:srgbClr val="245473"/>
                </a:solidFill>
                <a:latin typeface="+mj-lt"/>
                <a:ea typeface="Lato Light" panose="020F0502020204030203" pitchFamily="34" charset="0"/>
                <a:cs typeface="Mukta ExtraLight" panose="020B0000000000000000" pitchFamily="34" charset="77"/>
              </a:rPr>
              <a:t>Vorbeugung</a:t>
            </a:r>
            <a:r>
              <a:rPr lang="en-GB" sz="1600" dirty="0">
                <a:solidFill>
                  <a:srgbClr val="245473"/>
                </a:solidFill>
                <a:latin typeface="+mj-lt"/>
                <a:ea typeface="Lato Light" panose="020F0502020204030203" pitchFamily="34" charset="0"/>
                <a:cs typeface="Mukta ExtraLight" panose="020B0000000000000000" pitchFamily="34" charset="77"/>
              </a:rPr>
              <a:t> des </a:t>
            </a:r>
            <a:r>
              <a:rPr lang="en-GB" sz="1600" dirty="0" err="1">
                <a:solidFill>
                  <a:srgbClr val="245473"/>
                </a:solidFill>
                <a:latin typeface="+mj-lt"/>
                <a:ea typeface="Lato Light" panose="020F0502020204030203" pitchFamily="34" charset="0"/>
                <a:cs typeface="Mukta ExtraLight" panose="020B0000000000000000" pitchFamily="34" charset="77"/>
              </a:rPr>
              <a:t>Risikos</a:t>
            </a:r>
            <a:r>
              <a:rPr lang="en-GB" sz="1600" dirty="0">
                <a:solidFill>
                  <a:srgbClr val="245473"/>
                </a:solidFill>
                <a:latin typeface="+mj-lt"/>
                <a:ea typeface="Lato Light" panose="020F0502020204030203" pitchFamily="34" charset="0"/>
                <a:cs typeface="Mukta ExtraLight" panose="020B0000000000000000" pitchFamily="34" charset="77"/>
              </a:rPr>
              <a:t> einer Insolvenz</a:t>
            </a:r>
          </a:p>
        </p:txBody>
      </p:sp>
      <p:sp>
        <p:nvSpPr>
          <p:cNvPr id="75" name="Subtitle 2">
            <a:extLst>
              <a:ext uri="{FF2B5EF4-FFF2-40B4-BE49-F238E27FC236}">
                <a16:creationId xmlns:a16="http://schemas.microsoft.com/office/drawing/2014/main" xmlns="" id="{0BF9A7EC-FF91-47AB-A2B8-23FAF0DFEDE3}"/>
              </a:ext>
            </a:extLst>
          </p:cNvPr>
          <p:cNvSpPr txBox="1">
            <a:spLocks/>
          </p:cNvSpPr>
          <p:nvPr/>
        </p:nvSpPr>
        <p:spPr>
          <a:xfrm>
            <a:off x="4686700" y="4559154"/>
            <a:ext cx="1266235" cy="71392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Bewältigung der </a:t>
            </a:r>
            <a:r>
              <a:rPr lang="en-GB" sz="1600" dirty="0" err="1">
                <a:solidFill>
                  <a:srgbClr val="245473"/>
                </a:solidFill>
                <a:latin typeface="+mj-lt"/>
                <a:ea typeface="Lato Light" panose="020F0502020204030203" pitchFamily="34" charset="0"/>
                <a:cs typeface="Mukta ExtraLight" panose="020B0000000000000000" pitchFamily="34" charset="77"/>
              </a:rPr>
              <a:t>Liquiditäts-krise</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76" name="Subtitle 2">
            <a:extLst>
              <a:ext uri="{FF2B5EF4-FFF2-40B4-BE49-F238E27FC236}">
                <a16:creationId xmlns:a16="http://schemas.microsoft.com/office/drawing/2014/main" xmlns="" id="{1246D6E5-672A-4DF5-8EA4-2B8372329F11}"/>
              </a:ext>
            </a:extLst>
          </p:cNvPr>
          <p:cNvSpPr txBox="1">
            <a:spLocks/>
          </p:cNvSpPr>
          <p:nvPr/>
        </p:nvSpPr>
        <p:spPr>
          <a:xfrm>
            <a:off x="6128736" y="4559154"/>
            <a:ext cx="1266235" cy="54720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Bewältigung der Ertragskrise</a:t>
            </a:r>
          </a:p>
        </p:txBody>
      </p:sp>
      <p:sp>
        <p:nvSpPr>
          <p:cNvPr id="77" name="Subtitle 2">
            <a:extLst>
              <a:ext uri="{FF2B5EF4-FFF2-40B4-BE49-F238E27FC236}">
                <a16:creationId xmlns:a16="http://schemas.microsoft.com/office/drawing/2014/main" xmlns="" id="{7B589B73-B1BC-4591-8BE9-6F7D895211AC}"/>
              </a:ext>
            </a:extLst>
          </p:cNvPr>
          <p:cNvSpPr txBox="1">
            <a:spLocks/>
          </p:cNvSpPr>
          <p:nvPr/>
        </p:nvSpPr>
        <p:spPr>
          <a:xfrm>
            <a:off x="7639185" y="4559154"/>
            <a:ext cx="12662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Optimierung und Entwicklung des Produkt-/</a:t>
            </a:r>
            <a:r>
              <a:rPr lang="en-GB" sz="1600" dirty="0" err="1">
                <a:solidFill>
                  <a:srgbClr val="245473"/>
                </a:solidFill>
                <a:latin typeface="+mj-lt"/>
                <a:ea typeface="Lato Light" panose="020F0502020204030203" pitchFamily="34" charset="0"/>
                <a:cs typeface="Mukta ExtraLight" panose="020B0000000000000000" pitchFamily="34" charset="77"/>
              </a:rPr>
              <a:t>Kunden</a:t>
            </a:r>
            <a:r>
              <a:rPr lang="en-GB" sz="1600" dirty="0">
                <a:solidFill>
                  <a:srgbClr val="245473"/>
                </a:solidFill>
                <a:latin typeface="+mj-lt"/>
                <a:ea typeface="Lato Light" panose="020F0502020204030203" pitchFamily="34" charset="0"/>
                <a:cs typeface="Mukta ExtraLight" panose="020B0000000000000000" pitchFamily="34" charset="77"/>
              </a:rPr>
              <a:t>-portfolios</a:t>
            </a:r>
          </a:p>
        </p:txBody>
      </p:sp>
      <p:sp>
        <p:nvSpPr>
          <p:cNvPr id="78" name="Subtitle 2">
            <a:extLst>
              <a:ext uri="{FF2B5EF4-FFF2-40B4-BE49-F238E27FC236}">
                <a16:creationId xmlns:a16="http://schemas.microsoft.com/office/drawing/2014/main" xmlns="" id="{F66BADD7-012B-4648-8AA4-4E4B6F766915}"/>
              </a:ext>
            </a:extLst>
          </p:cNvPr>
          <p:cNvSpPr txBox="1">
            <a:spLocks/>
          </p:cNvSpPr>
          <p:nvPr/>
        </p:nvSpPr>
        <p:spPr>
          <a:xfrm>
            <a:off x="9033826" y="4559154"/>
            <a:ext cx="12662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Definition von Leitbild und stringenter Strategie</a:t>
            </a:r>
          </a:p>
        </p:txBody>
      </p:sp>
      <p:sp>
        <p:nvSpPr>
          <p:cNvPr id="79" name="Subtitle 2">
            <a:extLst>
              <a:ext uri="{FF2B5EF4-FFF2-40B4-BE49-F238E27FC236}">
                <a16:creationId xmlns:a16="http://schemas.microsoft.com/office/drawing/2014/main" xmlns="" id="{6D46C763-CCBE-4AAC-B27D-7E1C0FDF532E}"/>
              </a:ext>
            </a:extLst>
          </p:cNvPr>
          <p:cNvSpPr txBox="1">
            <a:spLocks/>
          </p:cNvSpPr>
          <p:nvPr/>
        </p:nvSpPr>
        <p:spPr>
          <a:xfrm>
            <a:off x="10486903" y="4567407"/>
            <a:ext cx="1266235" cy="121405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245473"/>
                </a:solidFill>
                <a:latin typeface="+mj-lt"/>
                <a:ea typeface="Lato Light" panose="020F0502020204030203" pitchFamily="34" charset="0"/>
                <a:cs typeface="Mukta ExtraLight" panose="020B0000000000000000" pitchFamily="34" charset="77"/>
              </a:rPr>
              <a:t>Bewältigung der Stakeholder-Krise und </a:t>
            </a:r>
            <a:r>
              <a:rPr lang="en-GB" sz="1600" dirty="0" err="1">
                <a:solidFill>
                  <a:srgbClr val="245473"/>
                </a:solidFill>
                <a:latin typeface="+mj-lt"/>
                <a:ea typeface="Lato Light" panose="020F0502020204030203" pitchFamily="34" charset="0"/>
                <a:cs typeface="Mukta ExtraLight" panose="020B0000000000000000" pitchFamily="34" charset="77"/>
              </a:rPr>
              <a:t>Implemen-tierung</a:t>
            </a:r>
            <a:r>
              <a:rPr lang="en-GB" sz="1600" dirty="0">
                <a:solidFill>
                  <a:srgbClr val="245473"/>
                </a:solidFill>
                <a:latin typeface="+mj-lt"/>
                <a:ea typeface="Lato Light" panose="020F0502020204030203" pitchFamily="34" charset="0"/>
                <a:cs typeface="Mukta ExtraLight" panose="020B0000000000000000" pitchFamily="34" charset="77"/>
              </a:rPr>
              <a:t> neuer Strukturen</a:t>
            </a:r>
          </a:p>
        </p:txBody>
      </p:sp>
      <p:sp>
        <p:nvSpPr>
          <p:cNvPr id="80" name="TextBox 106">
            <a:extLst>
              <a:ext uri="{FF2B5EF4-FFF2-40B4-BE49-F238E27FC236}">
                <a16:creationId xmlns:a16="http://schemas.microsoft.com/office/drawing/2014/main" xmlns="" id="{08D91F0E-1861-465F-8E0A-8C42F8EAB4D7}"/>
              </a:ext>
            </a:extLst>
          </p:cNvPr>
          <p:cNvSpPr txBox="1"/>
          <p:nvPr/>
        </p:nvSpPr>
        <p:spPr>
          <a:xfrm>
            <a:off x="3203910" y="3526805"/>
            <a:ext cx="4990856" cy="338554"/>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Vorhandene Ressourcen nutzen</a:t>
            </a:r>
          </a:p>
        </p:txBody>
      </p:sp>
      <p:sp>
        <p:nvSpPr>
          <p:cNvPr id="82" name="TextBox 106">
            <a:extLst>
              <a:ext uri="{FF2B5EF4-FFF2-40B4-BE49-F238E27FC236}">
                <a16:creationId xmlns:a16="http://schemas.microsoft.com/office/drawing/2014/main" xmlns="" id="{0353F053-5A17-4C67-8709-E324FC32E88C}"/>
              </a:ext>
            </a:extLst>
          </p:cNvPr>
          <p:cNvSpPr txBox="1"/>
          <p:nvPr/>
        </p:nvSpPr>
        <p:spPr>
          <a:xfrm>
            <a:off x="7144379" y="3526805"/>
            <a:ext cx="4751529" cy="338554"/>
          </a:xfrm>
          <a:prstGeom prst="rect">
            <a:avLst/>
          </a:prstGeom>
          <a:solidFill>
            <a:srgbClr val="8FAADC">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Neue Potenziale erschließen</a:t>
            </a:r>
          </a:p>
        </p:txBody>
      </p:sp>
      <p:sp>
        <p:nvSpPr>
          <p:cNvPr id="83" name="TextBox 106">
            <a:extLst>
              <a:ext uri="{FF2B5EF4-FFF2-40B4-BE49-F238E27FC236}">
                <a16:creationId xmlns:a16="http://schemas.microsoft.com/office/drawing/2014/main" xmlns="" id="{56CC06DD-A12D-4A5F-9C2C-4B2081253CE6}"/>
              </a:ext>
            </a:extLst>
          </p:cNvPr>
          <p:cNvSpPr txBox="1"/>
          <p:nvPr/>
        </p:nvSpPr>
        <p:spPr>
          <a:xfrm>
            <a:off x="3191674" y="5260333"/>
            <a:ext cx="2202847" cy="400110"/>
          </a:xfrm>
          <a:prstGeom prst="rect">
            <a:avLst/>
          </a:prstGeom>
          <a:noFill/>
        </p:spPr>
        <p:txBody>
          <a:bodyPr wrap="none" rtlCol="0" anchor="b" anchorCtr="0">
            <a:spAutoFit/>
          </a:bodyPr>
          <a:lstStyle/>
          <a:p>
            <a:r>
              <a:rPr lang="en-GB" sz="2000" b="1" dirty="0">
                <a:solidFill>
                  <a:schemeClr val="tx2"/>
                </a:solidFill>
                <a:latin typeface="+mj-lt"/>
                <a:ea typeface="League Spartan" charset="0"/>
                <a:cs typeface="Poppins" pitchFamily="2" charset="77"/>
              </a:rPr>
              <a:t>Mögliche Maßnahmen:</a:t>
            </a:r>
          </a:p>
        </p:txBody>
      </p:sp>
      <p:sp>
        <p:nvSpPr>
          <p:cNvPr id="84" name="TextBox 106">
            <a:extLst>
              <a:ext uri="{FF2B5EF4-FFF2-40B4-BE49-F238E27FC236}">
                <a16:creationId xmlns:a16="http://schemas.microsoft.com/office/drawing/2014/main" xmlns="" id="{6BD15A6E-A6AF-4BB9-A44A-521B206A187B}"/>
              </a:ext>
            </a:extLst>
          </p:cNvPr>
          <p:cNvSpPr txBox="1"/>
          <p:nvPr/>
        </p:nvSpPr>
        <p:spPr>
          <a:xfrm>
            <a:off x="3207761" y="5736963"/>
            <a:ext cx="4373520" cy="584775"/>
          </a:xfrm>
          <a:prstGeom prst="rect">
            <a:avLst/>
          </a:prstGeom>
          <a:solidFill>
            <a:srgbClr val="E53292">
              <a:alpha val="69804"/>
            </a:srgbClr>
          </a:solid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Working Capital Management, Kostenreduzierung, Personalreduzierung etc.</a:t>
            </a:r>
          </a:p>
        </p:txBody>
      </p:sp>
      <p:sp>
        <p:nvSpPr>
          <p:cNvPr id="86" name="TextBox 106">
            <a:extLst>
              <a:ext uri="{FF2B5EF4-FFF2-40B4-BE49-F238E27FC236}">
                <a16:creationId xmlns:a16="http://schemas.microsoft.com/office/drawing/2014/main" xmlns="" id="{B68201F5-C7C4-456A-81AB-5D8C56CA5C0A}"/>
              </a:ext>
            </a:extLst>
          </p:cNvPr>
          <p:cNvSpPr txBox="1"/>
          <p:nvPr/>
        </p:nvSpPr>
        <p:spPr>
          <a:xfrm>
            <a:off x="7581281" y="5736963"/>
            <a:ext cx="4314627" cy="584775"/>
          </a:xfrm>
          <a:prstGeom prst="rect">
            <a:avLst/>
          </a:prstGeom>
          <a:solidFill>
            <a:srgbClr val="8FAADC">
              <a:alpha val="69804"/>
            </a:srgbClr>
          </a:solidFill>
        </p:spPr>
        <p:txBody>
          <a:bodyPr wrap="square" rtlCol="0" anchor="b" anchorCtr="0">
            <a:spAutoFit/>
          </a:bodyPr>
          <a:lstStyle/>
          <a:p>
            <a:pPr algn="ctr"/>
            <a:r>
              <a:rPr lang="en-GB" sz="1600" b="1">
                <a:solidFill>
                  <a:schemeClr val="tx2"/>
                </a:solidFill>
                <a:latin typeface="+mj-lt"/>
                <a:ea typeface="League Spartan" charset="0"/>
                <a:cs typeface="Poppins" pitchFamily="2" charset="77"/>
              </a:rPr>
              <a:t>Neue Strategie, Portfolioanpassung, neue Stakeholder, Innovationsmanagement, etc.</a:t>
            </a:r>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4092473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87391" y="430689"/>
            <a:ext cx="8852375" cy="697353"/>
          </a:xfrm>
        </p:spPr>
        <p:txBody>
          <a:bodyPr>
            <a:normAutofit/>
          </a:bodyPr>
          <a:lstStyle/>
          <a:p>
            <a:r>
              <a:rPr lang="en-GB" dirty="0"/>
              <a:t>Restrukturierungskonzept: Maßnahm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5352" y="1835809"/>
            <a:ext cx="3712018" cy="52684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Die richtige Balance zwischen einer kurz- und langfristigen Perspektive ist entscheidend für die Nachhaltigkeit eines erfolgreichen Unternehmens. Es gibt jedoch viele Belege, nicht zuletzt die jüngste Finanzkrise, die zeigen, dass langfristige Ziele oft vernachlässigt wurden, weil man sich zu sehr auf kurzfristige Ziele konzentriert hat.</a:t>
            </a: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Kurzfristige Maßnahmen sind entscheidend, um auf die Krise zu reagieren und die Liquiditätskrise zu überwinden</a:t>
            </a:r>
            <a:endParaRPr lang="en-GB" sz="19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s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st</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nnoch</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wichtig</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die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ichtige</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Balance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zu</a:t>
            </a:r>
            <a:r>
              <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9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inden</a:t>
            </a:r>
            <a:endParaRPr lang="en-GB" sz="19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537F1DEE-C0B9-4FC3-A588-BF40D94BD60E}"/>
              </a:ext>
            </a:extLst>
          </p:cNvPr>
          <p:cNvGrpSpPr/>
          <p:nvPr/>
        </p:nvGrpSpPr>
        <p:grpSpPr>
          <a:xfrm>
            <a:off x="3863140" y="1957074"/>
            <a:ext cx="8328860" cy="4900926"/>
            <a:chOff x="4603418" y="1957074"/>
            <a:chExt cx="7588582" cy="4283334"/>
          </a:xfrm>
        </p:grpSpPr>
        <p:sp>
          <p:nvSpPr>
            <p:cNvPr id="5" name="Freeform 6">
              <a:extLst>
                <a:ext uri="{FF2B5EF4-FFF2-40B4-BE49-F238E27FC236}">
                  <a16:creationId xmlns:a16="http://schemas.microsoft.com/office/drawing/2014/main" xmlns="" id="{4945F0C8-9CD1-4301-A12B-53F4ECDED75F}"/>
                </a:ext>
              </a:extLst>
            </p:cNvPr>
            <p:cNvSpPr>
              <a:spLocks noChangeArrowheads="1"/>
            </p:cNvSpPr>
            <p:nvPr/>
          </p:nvSpPr>
          <p:spPr bwMode="auto">
            <a:xfrm>
              <a:off x="4934414" y="1978621"/>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6" name="Freeform 8">
              <a:extLst>
                <a:ext uri="{FF2B5EF4-FFF2-40B4-BE49-F238E27FC236}">
                  <a16:creationId xmlns:a16="http://schemas.microsoft.com/office/drawing/2014/main" xmlns="" id="{AE4D87CC-6064-472B-A7CE-7CD87B49E51C}"/>
                </a:ext>
              </a:extLst>
            </p:cNvPr>
            <p:cNvSpPr>
              <a:spLocks noChangeArrowheads="1"/>
            </p:cNvSpPr>
            <p:nvPr/>
          </p:nvSpPr>
          <p:spPr bwMode="auto">
            <a:xfrm>
              <a:off x="4806335" y="1957075"/>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sp>
          <p:nvSpPr>
            <p:cNvPr id="7" name="Freeform 10">
              <a:extLst>
                <a:ext uri="{FF2B5EF4-FFF2-40B4-BE49-F238E27FC236}">
                  <a16:creationId xmlns:a16="http://schemas.microsoft.com/office/drawing/2014/main" xmlns="" id="{CED0B4E3-A1BD-4A63-B899-9D7882B128C5}"/>
                </a:ext>
              </a:extLst>
            </p:cNvPr>
            <p:cNvSpPr>
              <a:spLocks noChangeArrowheads="1"/>
            </p:cNvSpPr>
            <p:nvPr/>
          </p:nvSpPr>
          <p:spPr bwMode="auto">
            <a:xfrm>
              <a:off x="5317858" y="1993973"/>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4000" dirty="0">
                <a:latin typeface="+mj-lt"/>
              </a:endParaRPr>
            </a:p>
          </p:txBody>
        </p:sp>
        <p:grpSp>
          <p:nvGrpSpPr>
            <p:cNvPr id="8" name="Group 13">
              <a:extLst>
                <a:ext uri="{FF2B5EF4-FFF2-40B4-BE49-F238E27FC236}">
                  <a16:creationId xmlns:a16="http://schemas.microsoft.com/office/drawing/2014/main" xmlns="" id="{C419A44C-80E4-4302-AC3A-1844E99A8FFF}"/>
                </a:ext>
              </a:extLst>
            </p:cNvPr>
            <p:cNvGrpSpPr/>
            <p:nvPr/>
          </p:nvGrpSpPr>
          <p:grpSpPr>
            <a:xfrm>
              <a:off x="5214445" y="4998549"/>
              <a:ext cx="686905" cy="686905"/>
              <a:chOff x="6203917" y="6068451"/>
              <a:chExt cx="2527366" cy="2527366"/>
            </a:xfrm>
          </p:grpSpPr>
          <p:sp>
            <p:nvSpPr>
              <p:cNvPr id="9" name="Teardrop 14">
                <a:extLst>
                  <a:ext uri="{FF2B5EF4-FFF2-40B4-BE49-F238E27FC236}">
                    <a16:creationId xmlns:a16="http://schemas.microsoft.com/office/drawing/2014/main" xmlns="" id="{3BCD7A1B-EB0C-4E11-8D7B-DD3AE3FFE6CD}"/>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0" name="Oval 15">
                <a:extLst>
                  <a:ext uri="{FF2B5EF4-FFF2-40B4-BE49-F238E27FC236}">
                    <a16:creationId xmlns:a16="http://schemas.microsoft.com/office/drawing/2014/main" xmlns="" id="{2E731937-7840-4916-930B-5659480156C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2" name="Group 17">
              <a:extLst>
                <a:ext uri="{FF2B5EF4-FFF2-40B4-BE49-F238E27FC236}">
                  <a16:creationId xmlns:a16="http://schemas.microsoft.com/office/drawing/2014/main" xmlns="" id="{5A46975B-F6B0-403D-9E29-644134494278}"/>
                </a:ext>
              </a:extLst>
            </p:cNvPr>
            <p:cNvGrpSpPr/>
            <p:nvPr/>
          </p:nvGrpSpPr>
          <p:grpSpPr>
            <a:xfrm>
              <a:off x="7975987" y="4417373"/>
              <a:ext cx="686905" cy="686905"/>
              <a:chOff x="6203917" y="6068451"/>
              <a:chExt cx="2527366" cy="2527366"/>
            </a:xfrm>
          </p:grpSpPr>
          <p:sp>
            <p:nvSpPr>
              <p:cNvPr id="13" name="Teardrop 18">
                <a:extLst>
                  <a:ext uri="{FF2B5EF4-FFF2-40B4-BE49-F238E27FC236}">
                    <a16:creationId xmlns:a16="http://schemas.microsoft.com/office/drawing/2014/main" xmlns="" id="{D51FCC84-3915-4D59-83C3-E9E6FDE8D5B4}"/>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4" name="Oval 19">
                <a:extLst>
                  <a:ext uri="{FF2B5EF4-FFF2-40B4-BE49-F238E27FC236}">
                    <a16:creationId xmlns:a16="http://schemas.microsoft.com/office/drawing/2014/main" xmlns="" id="{82A4564A-D99D-4240-8E84-6A88228A262E}"/>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16" name="Group 21">
              <a:extLst>
                <a:ext uri="{FF2B5EF4-FFF2-40B4-BE49-F238E27FC236}">
                  <a16:creationId xmlns:a16="http://schemas.microsoft.com/office/drawing/2014/main" xmlns="" id="{A342CC78-1410-46A7-AD38-859644D75909}"/>
                </a:ext>
              </a:extLst>
            </p:cNvPr>
            <p:cNvGrpSpPr/>
            <p:nvPr/>
          </p:nvGrpSpPr>
          <p:grpSpPr>
            <a:xfrm>
              <a:off x="7443876" y="2981083"/>
              <a:ext cx="686905" cy="686905"/>
              <a:chOff x="6203917" y="6068451"/>
              <a:chExt cx="2527366" cy="2527366"/>
            </a:xfrm>
          </p:grpSpPr>
          <p:sp>
            <p:nvSpPr>
              <p:cNvPr id="17" name="Teardrop 22">
                <a:extLst>
                  <a:ext uri="{FF2B5EF4-FFF2-40B4-BE49-F238E27FC236}">
                    <a16:creationId xmlns:a16="http://schemas.microsoft.com/office/drawing/2014/main" xmlns="" id="{2BD3622F-070F-48BC-9FFF-A14CD0F1880E}"/>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18" name="Oval 23">
                <a:extLst>
                  <a:ext uri="{FF2B5EF4-FFF2-40B4-BE49-F238E27FC236}">
                    <a16:creationId xmlns:a16="http://schemas.microsoft.com/office/drawing/2014/main" xmlns="" id="{F4123B4C-F416-4E2C-8BD8-036456052114}"/>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grpSp>
          <p:nvGrpSpPr>
            <p:cNvPr id="20" name="Group 25">
              <a:extLst>
                <a:ext uri="{FF2B5EF4-FFF2-40B4-BE49-F238E27FC236}">
                  <a16:creationId xmlns:a16="http://schemas.microsoft.com/office/drawing/2014/main" xmlns="" id="{687073AB-686D-41E2-9C2C-51410A88DC16}"/>
                </a:ext>
              </a:extLst>
            </p:cNvPr>
            <p:cNvGrpSpPr/>
            <p:nvPr/>
          </p:nvGrpSpPr>
          <p:grpSpPr>
            <a:xfrm>
              <a:off x="9618681" y="2533291"/>
              <a:ext cx="686905" cy="686905"/>
              <a:chOff x="6203917" y="6068451"/>
              <a:chExt cx="2527366" cy="2527366"/>
            </a:xfrm>
          </p:grpSpPr>
          <p:sp>
            <p:nvSpPr>
              <p:cNvPr id="21" name="Teardrop 26">
                <a:extLst>
                  <a:ext uri="{FF2B5EF4-FFF2-40B4-BE49-F238E27FC236}">
                    <a16:creationId xmlns:a16="http://schemas.microsoft.com/office/drawing/2014/main" xmlns="" id="{C675F6D4-A66A-484E-A309-8DF43A49319F}"/>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sp useBgFill="1">
            <p:nvSpPr>
              <p:cNvPr id="22" name="Oval 27">
                <a:extLst>
                  <a:ext uri="{FF2B5EF4-FFF2-40B4-BE49-F238E27FC236}">
                    <a16:creationId xmlns:a16="http://schemas.microsoft.com/office/drawing/2014/main" xmlns="" id="{CAC09260-1CF7-4454-BB97-BFC964F3AEB3}"/>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latin typeface="+mj-lt"/>
                </a:endParaRPr>
              </a:p>
            </p:txBody>
          </p:sp>
        </p:grpSp>
        <p:sp>
          <p:nvSpPr>
            <p:cNvPr id="25" name="Subtitle 2">
              <a:extLst>
                <a:ext uri="{FF2B5EF4-FFF2-40B4-BE49-F238E27FC236}">
                  <a16:creationId xmlns:a16="http://schemas.microsoft.com/office/drawing/2014/main" xmlns="" id="{FC7025B7-E5BE-43F0-8BCE-47C7C29514E7}"/>
                </a:ext>
              </a:extLst>
            </p:cNvPr>
            <p:cNvSpPr txBox="1">
              <a:spLocks/>
            </p:cNvSpPr>
            <p:nvPr/>
          </p:nvSpPr>
          <p:spPr>
            <a:xfrm>
              <a:off x="4603418" y="3479994"/>
              <a:ext cx="1174038" cy="17249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Es reicht nicht aus, nur kurz- bis mittelfristige Maßnahmen zu definieren</a:t>
              </a:r>
            </a:p>
          </p:txBody>
        </p:sp>
        <p:sp>
          <p:nvSpPr>
            <p:cNvPr id="27" name="Subtitle 2">
              <a:extLst>
                <a:ext uri="{FF2B5EF4-FFF2-40B4-BE49-F238E27FC236}">
                  <a16:creationId xmlns:a16="http://schemas.microsoft.com/office/drawing/2014/main" xmlns="" id="{A3F83685-4145-4166-BE15-DD0C2D05726E}"/>
                </a:ext>
              </a:extLst>
            </p:cNvPr>
            <p:cNvSpPr txBox="1">
              <a:spLocks/>
            </p:cNvSpPr>
            <p:nvPr/>
          </p:nvSpPr>
          <p:spPr>
            <a:xfrm>
              <a:off x="8789997" y="3800353"/>
              <a:ext cx="1539315" cy="17249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Die Einhaltung der zeitlichen und finanziellen Vorgaben ist für den Erfolg der </a:t>
              </a:r>
              <a:r>
                <a:rPr lang="en-GB" sz="1800" dirty="0" err="1">
                  <a:solidFill>
                    <a:srgbClr val="245473"/>
                  </a:solidFill>
                  <a:latin typeface="+mj-lt"/>
                  <a:ea typeface="Lato Light" panose="020F0502020204030203" pitchFamily="34" charset="0"/>
                  <a:cs typeface="Mukta ExtraLight" panose="020B0000000000000000" pitchFamily="34" charset="77"/>
                </a:rPr>
                <a:t>Restrukturierung</a:t>
              </a:r>
              <a:r>
                <a:rPr lang="en-GB" sz="1800" dirty="0">
                  <a:solidFill>
                    <a:srgbClr val="245473"/>
                  </a:solidFill>
                  <a:latin typeface="+mj-lt"/>
                  <a:ea typeface="Lato Light" panose="020F0502020204030203" pitchFamily="34" charset="0"/>
                  <a:cs typeface="Mukta ExtraLight" panose="020B0000000000000000" pitchFamily="34" charset="77"/>
                </a:rPr>
                <a:t> notwendig</a:t>
              </a:r>
            </a:p>
          </p:txBody>
        </p:sp>
        <p:sp>
          <p:nvSpPr>
            <p:cNvPr id="29" name="Subtitle 2">
              <a:extLst>
                <a:ext uri="{FF2B5EF4-FFF2-40B4-BE49-F238E27FC236}">
                  <a16:creationId xmlns:a16="http://schemas.microsoft.com/office/drawing/2014/main" xmlns="" id="{8D1038B9-D6FC-4DC0-B291-0FD9090B65BE}"/>
                </a:ext>
              </a:extLst>
            </p:cNvPr>
            <p:cNvSpPr txBox="1">
              <a:spLocks/>
            </p:cNvSpPr>
            <p:nvPr/>
          </p:nvSpPr>
          <p:spPr>
            <a:xfrm>
              <a:off x="10383571" y="2685655"/>
              <a:ext cx="1808428" cy="293538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Ist die </a:t>
              </a:r>
              <a:r>
                <a:rPr lang="en-GB" sz="1800" dirty="0" err="1">
                  <a:solidFill>
                    <a:srgbClr val="245473"/>
                  </a:solidFill>
                  <a:latin typeface="+mj-lt"/>
                  <a:ea typeface="Lato Light" panose="020F0502020204030203" pitchFamily="34" charset="0"/>
                  <a:cs typeface="Mukta ExtraLight" panose="020B0000000000000000" pitchFamily="34" charset="77"/>
                </a:rPr>
                <a:t>Unternehmenskrise</a:t>
              </a:r>
              <a:r>
                <a:rPr lang="en-GB" sz="1800" dirty="0">
                  <a:solidFill>
                    <a:srgbClr val="245473"/>
                  </a:solidFill>
                  <a:latin typeface="+mj-lt"/>
                  <a:ea typeface="Lato Light" panose="020F0502020204030203" pitchFamily="34" charset="0"/>
                  <a:cs typeface="Mukta ExtraLight" panose="020B0000000000000000" pitchFamily="34" charset="77"/>
                </a:rPr>
                <a:t> bereits weit fortgeschritten, dann muss auch ein mögliches Insolvenzverfahren </a:t>
              </a:r>
              <a:r>
                <a:rPr lang="en-GB" sz="1800" dirty="0" err="1">
                  <a:solidFill>
                    <a:srgbClr val="245473"/>
                  </a:solidFill>
                  <a:latin typeface="+mj-lt"/>
                  <a:ea typeface="Lato Light" panose="020F0502020204030203" pitchFamily="34" charset="0"/>
                  <a:cs typeface="Mukta ExtraLight" panose="020B0000000000000000" pitchFamily="34" charset="77"/>
                </a:rPr>
                <a:t>als</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Restruktu-rierungsstrategie</a:t>
              </a:r>
              <a:r>
                <a:rPr lang="en-GB" sz="1800" dirty="0">
                  <a:solidFill>
                    <a:srgbClr val="245473"/>
                  </a:solidFill>
                  <a:latin typeface="+mj-lt"/>
                  <a:ea typeface="Lato Light" panose="020F0502020204030203" pitchFamily="34" charset="0"/>
                  <a:cs typeface="Mukta ExtraLight" panose="020B0000000000000000" pitchFamily="34" charset="77"/>
                </a:rPr>
                <a:t>  für das Unternehmen geprüft werden. </a:t>
              </a:r>
            </a:p>
          </p:txBody>
        </p:sp>
        <p:sp>
          <p:nvSpPr>
            <p:cNvPr id="31" name="Subtitle 2">
              <a:extLst>
                <a:ext uri="{FF2B5EF4-FFF2-40B4-BE49-F238E27FC236}">
                  <a16:creationId xmlns:a16="http://schemas.microsoft.com/office/drawing/2014/main" xmlns="" id="{2AF1BC7B-374A-463D-A5B4-C6B8C5D86541}"/>
                </a:ext>
              </a:extLst>
            </p:cNvPr>
            <p:cNvSpPr txBox="1">
              <a:spLocks/>
            </p:cNvSpPr>
            <p:nvPr/>
          </p:nvSpPr>
          <p:spPr>
            <a:xfrm>
              <a:off x="5857424" y="1957074"/>
              <a:ext cx="1565280" cy="24511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0"/>
                </a:spcBef>
                <a:spcAft>
                  <a:spcPts val="675"/>
                </a:spcAft>
              </a:pPr>
              <a:r>
                <a:rPr lang="en-GB" sz="1800" dirty="0">
                  <a:solidFill>
                    <a:srgbClr val="245473"/>
                  </a:solidFill>
                  <a:latin typeface="+mj-lt"/>
                  <a:ea typeface="Lato Light" panose="020F0502020204030203" pitchFamily="34" charset="0"/>
                  <a:cs typeface="Mukta ExtraLight" panose="020B0000000000000000" pitchFamily="34" charset="77"/>
                </a:rPr>
                <a:t>Darüber hinaus sind alle Krisenursachen, d.h. auch die Ursachen aus vorangegangenen oder parallelen Krisenstadien, nachhaltig zu beseitigen</a:t>
              </a:r>
            </a:p>
          </p:txBody>
        </p:sp>
      </p:grpSp>
      <p:sp>
        <p:nvSpPr>
          <p:cNvPr id="34" name="TextBox 29">
            <a:extLst>
              <a:ext uri="{FF2B5EF4-FFF2-40B4-BE49-F238E27FC236}">
                <a16:creationId xmlns:a16="http://schemas.microsoft.com/office/drawing/2014/main" xmlns="" id="{17656A79-123A-4980-9EDB-D243057F1C0A}"/>
              </a:ext>
            </a:extLst>
          </p:cNvPr>
          <p:cNvSpPr txBox="1"/>
          <p:nvPr/>
        </p:nvSpPr>
        <p:spPr>
          <a:xfrm>
            <a:off x="1087391" y="1194799"/>
            <a:ext cx="8735521" cy="523220"/>
          </a:xfrm>
          <a:prstGeom prst="rect">
            <a:avLst/>
          </a:prstGeom>
          <a:noFill/>
        </p:spPr>
        <p:txBody>
          <a:bodyPr wrap="square" rtlCol="0" anchor="b" anchorCtr="0">
            <a:spAutoFit/>
          </a:bodyPr>
          <a:lstStyle/>
          <a:p>
            <a:r>
              <a:rPr lang="en-GB" sz="2800" b="1" dirty="0">
                <a:solidFill>
                  <a:schemeClr val="tx2"/>
                </a:solidFill>
                <a:latin typeface="+mj-lt"/>
                <a:ea typeface="League Spartan" charset="0"/>
                <a:cs typeface="Poppins" pitchFamily="2" charset="77"/>
              </a:rPr>
              <a:t>Bedingungen für erfolgreiche Restrukturierungsmaßnahmen</a:t>
            </a:r>
          </a:p>
        </p:txBody>
      </p:sp>
    </p:spTree>
    <p:extLst>
      <p:ext uri="{BB962C8B-B14F-4D97-AF65-F5344CB8AC3E}">
        <p14:creationId xmlns:p14="http://schemas.microsoft.com/office/powerpoint/2010/main" val="1329346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91743" y="479129"/>
            <a:ext cx="5909719" cy="697353"/>
          </a:xfrm>
        </p:spPr>
        <p:txBody>
          <a:bodyPr>
            <a:noAutofit/>
          </a:bodyPr>
          <a:lstStyle/>
          <a:p>
            <a:r>
              <a:rPr lang="en-GB" dirty="0"/>
              <a:t>Restrukturierungskonzept: Holen Sie sich die Fakt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7176" y="1738478"/>
            <a:ext cx="2871709"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Jedes gute Konzept basiert auf harten Fakten. Auch wenn die Zeit knapp ist, sollten Sie sich zunächst darauf konzentrieren, eine fundierte Analyse durchzuführen. Dabei sollten Sie sich aber zunächst auf die für die Restrukturierung besonders relevanten Fakten konzentrieren und auf </a:t>
            </a:r>
            <a:r>
              <a:rPr lang="en-GB" sz="2200" dirty="0" err="1">
                <a:solidFill>
                  <a:srgbClr val="245473"/>
                </a:solidFill>
                <a:latin typeface="+mj-lt"/>
                <a:ea typeface="Open Sans Light" panose="020B0306030504020204" pitchFamily="34" charset="0"/>
                <a:cs typeface="Open Sans Light" panose="020B0306030504020204" pitchFamily="34" charset="0"/>
              </a:rPr>
              <a:t>bestehend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Dat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zurückgreifen</a:t>
            </a:r>
            <a:r>
              <a:rPr lang="en-GB" sz="2200" dirty="0">
                <a:solidFill>
                  <a:srgbClr val="245473"/>
                </a:solidFill>
                <a:latin typeface="+mj-lt"/>
                <a:ea typeface="Open Sans Light" panose="020B0306030504020204" pitchFamily="34" charset="0"/>
                <a:cs typeface="Open Sans Light" panose="020B0306030504020204" pitchFamily="34" charset="0"/>
              </a:rPr>
              <a:t>.</a:t>
            </a:r>
            <a:endParaRPr lang="en-US" dirty="0">
              <a:solidFill>
                <a:srgbClr val="245473"/>
              </a:solidFill>
            </a:endParaRPr>
          </a:p>
        </p:txBody>
      </p:sp>
      <p:graphicFrame>
        <p:nvGraphicFramePr>
          <p:cNvPr id="72" name="object 15">
            <a:extLst>
              <a:ext uri="{FF2B5EF4-FFF2-40B4-BE49-F238E27FC236}">
                <a16:creationId xmlns:a16="http://schemas.microsoft.com/office/drawing/2014/main" xmlns="" id="{377308A6-0CD9-4575-8764-110B9EB55692}"/>
              </a:ext>
            </a:extLst>
          </p:cNvPr>
          <p:cNvGraphicFramePr>
            <a:graphicFrameLocks noGrp="1"/>
          </p:cNvGraphicFramePr>
          <p:nvPr/>
        </p:nvGraphicFramePr>
        <p:xfrm>
          <a:off x="3513643" y="1911639"/>
          <a:ext cx="8229600" cy="4118555"/>
        </p:xfrm>
        <a:graphic>
          <a:graphicData uri="http://schemas.openxmlformats.org/drawingml/2006/table">
            <a:tbl>
              <a:tblPr firstRow="1" bandRow="1">
                <a:tableStyleId>{69012ECD-51FC-41F1-AA8D-1B2483CD663E}</a:tableStyleId>
              </a:tblPr>
              <a:tblGrid>
                <a:gridCol w="8229600">
                  <a:extLst>
                    <a:ext uri="{9D8B030D-6E8A-4147-A177-3AD203B41FA5}">
                      <a16:colId xmlns:a16="http://schemas.microsoft.com/office/drawing/2014/main" xmlns="" val="20000"/>
                    </a:ext>
                  </a:extLst>
                </a:gridCol>
              </a:tblGrid>
              <a:tr h="423490">
                <a:tc>
                  <a:txBody>
                    <a:bodyPr/>
                    <a:lstStyle/>
                    <a:p>
                      <a:pPr marL="91440">
                        <a:lnSpc>
                          <a:spcPct val="100000"/>
                        </a:lnSpc>
                        <a:spcBef>
                          <a:spcPts val="715"/>
                        </a:spcBef>
                      </a:pPr>
                      <a:r>
                        <a:rPr lang="en-GB" sz="2000" spc="-5" dirty="0">
                          <a:latin typeface="+mj-lt"/>
                        </a:rPr>
                        <a:t>Überblick über die Unternehmenssituation</a:t>
                      </a:r>
                      <a:endParaRPr lang="en-GB" sz="2000" b="1" spc="-5" dirty="0">
                        <a:solidFill>
                          <a:srgbClr val="FFFFFF"/>
                        </a:solidFill>
                        <a:latin typeface="+mj-lt"/>
                        <a:cs typeface="Arial"/>
                      </a:endParaRPr>
                    </a:p>
                  </a:txBody>
                  <a:tcPr marL="0" marR="0" marT="90805" marB="0"/>
                </a:tc>
                <a:extLst>
                  <a:ext uri="{0D108BD9-81ED-4DB2-BD59-A6C34878D82A}">
                    <a16:rowId xmlns:a16="http://schemas.microsoft.com/office/drawing/2014/main" xmlns="" val="10000"/>
                  </a:ext>
                </a:extLst>
              </a:tr>
              <a:tr h="744697">
                <a:tc>
                  <a:txBody>
                    <a:bodyPr/>
                    <a:lstStyle/>
                    <a:p>
                      <a:pPr marL="551180" marR="490220" indent="-285115">
                        <a:lnSpc>
                          <a:spcPct val="100000"/>
                        </a:lnSpc>
                        <a:spcBef>
                          <a:spcPts val="320"/>
                        </a:spcBef>
                        <a:buFont typeface="Wingdings"/>
                        <a:buChar char=""/>
                        <a:tabLst>
                          <a:tab pos="551180" algn="l"/>
                          <a:tab pos="551815" algn="l"/>
                        </a:tabLst>
                      </a:pPr>
                      <a:r>
                        <a:rPr lang="en-GB" sz="2000" spc="-5" dirty="0">
                          <a:solidFill>
                            <a:srgbClr val="245473"/>
                          </a:solidFill>
                          <a:latin typeface="+mj-lt"/>
                        </a:rPr>
                        <a:t>Die Ergebnisse der Analyse bilden die Grundlage für die Festlegung des notwendigen Handlungsrahmens als Basis für die Definition des Leitbildes des restrukturierten Unternehmens und der notwendigen Maßnahmen zur Umsetzung</a:t>
                      </a:r>
                      <a:endParaRPr lang="en-GB" sz="2000" dirty="0">
                        <a:solidFill>
                          <a:srgbClr val="245473"/>
                        </a:solidFill>
                        <a:latin typeface="+mj-lt"/>
                        <a:cs typeface="Arial"/>
                      </a:endParaRPr>
                    </a:p>
                  </a:txBody>
                  <a:tcPr marL="0" marR="0" marT="40640" marB="0"/>
                </a:tc>
                <a:extLst>
                  <a:ext uri="{0D108BD9-81ED-4DB2-BD59-A6C34878D82A}">
                    <a16:rowId xmlns:a16="http://schemas.microsoft.com/office/drawing/2014/main" xmlns="" val="10001"/>
                  </a:ext>
                </a:extLst>
              </a:tr>
              <a:tr h="721648">
                <a:tc>
                  <a:txBody>
                    <a:bodyPr/>
                    <a:lstStyle/>
                    <a:p>
                      <a:pPr marL="556260" indent="-285750">
                        <a:lnSpc>
                          <a:spcPct val="100000"/>
                        </a:lnSpc>
                        <a:spcBef>
                          <a:spcPts val="325"/>
                        </a:spcBef>
                        <a:buFont typeface="Wingdings"/>
                        <a:buChar char=""/>
                        <a:tabLst>
                          <a:tab pos="556260" algn="l"/>
                          <a:tab pos="556895" algn="l"/>
                        </a:tabLst>
                      </a:pPr>
                      <a:r>
                        <a:rPr lang="en-GB" sz="2000" spc="-5" dirty="0">
                          <a:solidFill>
                            <a:srgbClr val="245473"/>
                          </a:solidFill>
                          <a:latin typeface="+mj-lt"/>
                        </a:rPr>
                        <a:t>Die folgenden Methoden können für die erste Analyse verwendet werden:</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Portfolio-Analyse</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SWOT-Analyse</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rPr>
                        <a:t>Wertschöpfungsketten-Analyse</a:t>
                      </a:r>
                    </a:p>
                    <a:p>
                      <a:pPr marL="1013460" lvl="1" indent="-285750">
                        <a:lnSpc>
                          <a:spcPct val="100000"/>
                        </a:lnSpc>
                        <a:spcBef>
                          <a:spcPts val="325"/>
                        </a:spcBef>
                        <a:buFont typeface="Symbol" panose="05050102010706020507" pitchFamily="18" charset="2"/>
                        <a:buChar char="-"/>
                        <a:tabLst>
                          <a:tab pos="556260" algn="l"/>
                          <a:tab pos="556895" algn="l"/>
                        </a:tabLst>
                      </a:pPr>
                      <a:r>
                        <a:rPr lang="en-GB" sz="2000" b="0" spc="-5" dirty="0">
                          <a:solidFill>
                            <a:srgbClr val="245473"/>
                          </a:solidFill>
                          <a:latin typeface="+mj-lt"/>
                          <a:cs typeface="Arial"/>
                        </a:rPr>
                        <a:t>Industrie-Analyse</a:t>
                      </a:r>
                      <a:endParaRPr lang="en-GB" sz="2000" b="0" dirty="0">
                        <a:solidFill>
                          <a:srgbClr val="245473"/>
                        </a:solidFill>
                        <a:latin typeface="+mj-lt"/>
                        <a:cs typeface="Arial"/>
                      </a:endParaRPr>
                    </a:p>
                  </a:txBody>
                  <a:tcPr marL="0" marR="0" marT="41275" marB="0"/>
                </a:tc>
                <a:extLst>
                  <a:ext uri="{0D108BD9-81ED-4DB2-BD59-A6C34878D82A}">
                    <a16:rowId xmlns:a16="http://schemas.microsoft.com/office/drawing/2014/main" xmlns="" val="10002"/>
                  </a:ext>
                </a:extLst>
              </a:tr>
              <a:tr h="423489">
                <a:tc>
                  <a:txBody>
                    <a:bodyPr/>
                    <a:lstStyle/>
                    <a:p>
                      <a:pPr marL="556260" indent="-285750">
                        <a:lnSpc>
                          <a:spcPct val="100000"/>
                        </a:lnSpc>
                        <a:spcBef>
                          <a:spcPts val="850"/>
                        </a:spcBef>
                        <a:buFont typeface="Wingdings"/>
                        <a:buChar char=""/>
                        <a:tabLst>
                          <a:tab pos="556260" algn="l"/>
                          <a:tab pos="556895" algn="l"/>
                        </a:tabLst>
                      </a:pPr>
                      <a:r>
                        <a:rPr lang="en-GB" sz="2000" spc="-10" dirty="0">
                          <a:solidFill>
                            <a:srgbClr val="245473"/>
                          </a:solidFill>
                          <a:latin typeface="+mj-lt"/>
                        </a:rPr>
                        <a:t>Welche Methoden Sie verwenden, ist Ihnen überlassen und hängt vom Druck der Krise (verfügbare Zeit) und dem verfügbaren Termin ab</a:t>
                      </a:r>
                      <a:endParaRPr lang="en-GB" sz="2000" dirty="0">
                        <a:solidFill>
                          <a:srgbClr val="245473"/>
                        </a:solidFill>
                        <a:latin typeface="+mj-lt"/>
                        <a:cs typeface="Arial"/>
                      </a:endParaRPr>
                    </a:p>
                  </a:txBody>
                  <a:tcPr marL="0" marR="0" marT="107950" marB="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10760971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8269" y="2107261"/>
            <a:ext cx="3124674"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SWOT-Analyse (oder SWOT-Matrix) ist </a:t>
            </a:r>
            <a:r>
              <a:rPr lang="en-GB" sz="2200" dirty="0" err="1">
                <a:solidFill>
                  <a:srgbClr val="245473"/>
                </a:solidFill>
                <a:latin typeface="+mj-lt"/>
                <a:ea typeface="Open Sans Light" panose="020B0306030504020204" pitchFamily="34" charset="0"/>
                <a:cs typeface="Open Sans Light" panose="020B0306030504020204" pitchFamily="34" charset="0"/>
              </a:rPr>
              <a:t>ein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strategisch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Planungstechnik</a:t>
            </a:r>
            <a:r>
              <a:rPr lang="en-GB" sz="2200" dirty="0">
                <a:solidFill>
                  <a:srgbClr val="245473"/>
                </a:solidFill>
                <a:latin typeface="+mj-lt"/>
                <a:ea typeface="Open Sans Light" panose="020B0306030504020204" pitchFamily="34" charset="0"/>
                <a:cs typeface="Open Sans Light" panose="020B0306030504020204" pitchFamily="34" charset="0"/>
              </a:rPr>
              <a:t>, die einer Person oder Organisation hilft, Stärken, Schwächen, Chancen und Bedrohungen in Bezug auf  den geschäftlichen Wettbewerb oder die </a:t>
            </a:r>
            <a:r>
              <a:rPr lang="en-GB" sz="2200" dirty="0" err="1">
                <a:solidFill>
                  <a:srgbClr val="245473"/>
                </a:solidFill>
                <a:latin typeface="+mj-lt"/>
                <a:ea typeface="Open Sans Light" panose="020B0306030504020204" pitchFamily="34" charset="0"/>
                <a:cs typeface="Open Sans Light" panose="020B0306030504020204" pitchFamily="34" charset="0"/>
              </a:rPr>
              <a:t>Projektplanung</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zu</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identifizieren</a:t>
            </a:r>
            <a:r>
              <a:rPr lang="en-GB" sz="2200" dirty="0">
                <a:solidFill>
                  <a:srgbClr val="245473"/>
                </a:solidFill>
                <a:latin typeface="+mj-lt"/>
                <a:ea typeface="Open Sans Light" panose="020B0306030504020204" pitchFamily="34" charset="0"/>
                <a:cs typeface="Open Sans Light" panose="020B0306030504020204" pitchFamily="34" charset="0"/>
              </a:rPr>
              <a:t>.</a:t>
            </a:r>
            <a:endParaRPr lang="en-US" dirty="0">
              <a:solidFill>
                <a:srgbClr val="245473"/>
              </a:solidFill>
            </a:endParaRPr>
          </a:p>
        </p:txBody>
      </p:sp>
      <p:cxnSp>
        <p:nvCxnSpPr>
          <p:cNvPr id="5" name="Straight Connector 41">
            <a:extLst>
              <a:ext uri="{FF2B5EF4-FFF2-40B4-BE49-F238E27FC236}">
                <a16:creationId xmlns:a16="http://schemas.microsoft.com/office/drawing/2014/main" xmlns="" id="{DF5F0568-047F-4F71-80D6-1A2738A7C2F1}"/>
              </a:ext>
            </a:extLst>
          </p:cNvPr>
          <p:cNvCxnSpPr>
            <a:cxnSpLocks/>
          </p:cNvCxnSpPr>
          <p:nvPr/>
        </p:nvCxnSpPr>
        <p:spPr bwMode="auto">
          <a:xfrm>
            <a:off x="9696542" y="3161474"/>
            <a:ext cx="0" cy="17689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42">
            <a:extLst>
              <a:ext uri="{FF2B5EF4-FFF2-40B4-BE49-F238E27FC236}">
                <a16:creationId xmlns:a16="http://schemas.microsoft.com/office/drawing/2014/main" xmlns="" id="{26BA192B-4564-4BC8-A4EF-811B0FE6FD25}"/>
              </a:ext>
            </a:extLst>
          </p:cNvPr>
          <p:cNvCxnSpPr>
            <a:cxnSpLocks/>
          </p:cNvCxnSpPr>
          <p:nvPr/>
        </p:nvCxnSpPr>
        <p:spPr bwMode="auto">
          <a:xfrm>
            <a:off x="8701181"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39">
            <a:extLst>
              <a:ext uri="{FF2B5EF4-FFF2-40B4-BE49-F238E27FC236}">
                <a16:creationId xmlns:a16="http://schemas.microsoft.com/office/drawing/2014/main" xmlns="" id="{1471F38A-E0C8-47EA-8A1F-1B05D9C7C670}"/>
              </a:ext>
            </a:extLst>
          </p:cNvPr>
          <p:cNvCxnSpPr>
            <a:cxnSpLocks/>
          </p:cNvCxnSpPr>
          <p:nvPr/>
        </p:nvCxnSpPr>
        <p:spPr bwMode="auto">
          <a:xfrm>
            <a:off x="8701180" y="3334794"/>
            <a:ext cx="0" cy="17740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 name="Straight Connector 40">
            <a:extLst>
              <a:ext uri="{FF2B5EF4-FFF2-40B4-BE49-F238E27FC236}">
                <a16:creationId xmlns:a16="http://schemas.microsoft.com/office/drawing/2014/main" xmlns="" id="{B2116C94-9CAD-42F5-AD45-FD645175CB02}"/>
              </a:ext>
            </a:extLst>
          </p:cNvPr>
          <p:cNvCxnSpPr>
            <a:cxnSpLocks/>
            <a:endCxn id="26" idx="0"/>
          </p:cNvCxnSpPr>
          <p:nvPr/>
        </p:nvCxnSpPr>
        <p:spPr bwMode="auto">
          <a:xfrm>
            <a:off x="10677617" y="3334796"/>
            <a:ext cx="9701"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29">
            <a:extLst>
              <a:ext uri="{FF2B5EF4-FFF2-40B4-BE49-F238E27FC236}">
                <a16:creationId xmlns:a16="http://schemas.microsoft.com/office/drawing/2014/main" xmlns="" id="{F2E29EB8-853C-489E-B795-A6D9F7B0328A}"/>
              </a:ext>
            </a:extLst>
          </p:cNvPr>
          <p:cNvCxnSpPr>
            <a:cxnSpLocks/>
          </p:cNvCxnSpPr>
          <p:nvPr/>
        </p:nvCxnSpPr>
        <p:spPr bwMode="auto">
          <a:xfrm>
            <a:off x="7555798" y="2396583"/>
            <a:ext cx="0" cy="17502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30">
            <a:extLst>
              <a:ext uri="{FF2B5EF4-FFF2-40B4-BE49-F238E27FC236}">
                <a16:creationId xmlns:a16="http://schemas.microsoft.com/office/drawing/2014/main" xmlns="" id="{553BFCAE-9F3A-476B-BF0C-29510F0FA84E}"/>
              </a:ext>
            </a:extLst>
          </p:cNvPr>
          <p:cNvCxnSpPr>
            <a:cxnSpLocks/>
          </p:cNvCxnSpPr>
          <p:nvPr/>
        </p:nvCxnSpPr>
        <p:spPr bwMode="auto">
          <a:xfrm>
            <a:off x="5431724" y="2575176"/>
            <a:ext cx="4260056"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27">
            <a:extLst>
              <a:ext uri="{FF2B5EF4-FFF2-40B4-BE49-F238E27FC236}">
                <a16:creationId xmlns:a16="http://schemas.microsoft.com/office/drawing/2014/main" xmlns="" id="{C947F689-9AA4-445A-894C-237897C351BC}"/>
              </a:ext>
            </a:extLst>
          </p:cNvPr>
          <p:cNvCxnSpPr>
            <a:cxnSpLocks/>
          </p:cNvCxnSpPr>
          <p:nvPr/>
        </p:nvCxnSpPr>
        <p:spPr bwMode="auto">
          <a:xfrm>
            <a:off x="5431724" y="2575177"/>
            <a:ext cx="0" cy="196453"/>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 name="Straight Connector 28">
            <a:extLst>
              <a:ext uri="{FF2B5EF4-FFF2-40B4-BE49-F238E27FC236}">
                <a16:creationId xmlns:a16="http://schemas.microsoft.com/office/drawing/2014/main" xmlns="" id="{5DCC6894-1A49-4575-8419-54AC3B305CFC}"/>
              </a:ext>
            </a:extLst>
          </p:cNvPr>
          <p:cNvCxnSpPr>
            <a:cxnSpLocks/>
            <a:endCxn id="18" idx="0"/>
          </p:cNvCxnSpPr>
          <p:nvPr/>
        </p:nvCxnSpPr>
        <p:spPr bwMode="auto">
          <a:xfrm flipH="1">
            <a:off x="9691184" y="2571605"/>
            <a:ext cx="596" cy="203596"/>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2">
            <a:extLst>
              <a:ext uri="{FF2B5EF4-FFF2-40B4-BE49-F238E27FC236}">
                <a16:creationId xmlns:a16="http://schemas.microsoft.com/office/drawing/2014/main" xmlns="" id="{341F2D68-F9A2-441B-9F8B-32EC8D11A4DA}"/>
              </a:ext>
            </a:extLst>
          </p:cNvPr>
          <p:cNvSpPr/>
          <p:nvPr/>
        </p:nvSpPr>
        <p:spPr bwMode="auto">
          <a:xfrm>
            <a:off x="5313851" y="2000105"/>
            <a:ext cx="4495800" cy="396477"/>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4" name="Rectangle 3">
            <a:extLst>
              <a:ext uri="{FF2B5EF4-FFF2-40B4-BE49-F238E27FC236}">
                <a16:creationId xmlns:a16="http://schemas.microsoft.com/office/drawing/2014/main" xmlns="" id="{88C69BB0-557F-41DC-B0E4-27149C5415C5}"/>
              </a:ext>
            </a:extLst>
          </p:cNvPr>
          <p:cNvSpPr/>
          <p:nvPr/>
        </p:nvSpPr>
        <p:spPr bwMode="auto">
          <a:xfrm>
            <a:off x="5313851" y="1878661"/>
            <a:ext cx="4495800" cy="457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5" name="Rectangle 6">
            <a:extLst>
              <a:ext uri="{FF2B5EF4-FFF2-40B4-BE49-F238E27FC236}">
                <a16:creationId xmlns:a16="http://schemas.microsoft.com/office/drawing/2014/main" xmlns="" id="{CA431A96-4FBA-40B7-A2ED-5AFB587B8025}"/>
              </a:ext>
            </a:extLst>
          </p:cNvPr>
          <p:cNvSpPr/>
          <p:nvPr/>
        </p:nvSpPr>
        <p:spPr bwMode="auto">
          <a:xfrm>
            <a:off x="3518389" y="2864499"/>
            <a:ext cx="3827860" cy="30360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6" name="Rectangle 7">
            <a:extLst>
              <a:ext uri="{FF2B5EF4-FFF2-40B4-BE49-F238E27FC236}">
                <a16:creationId xmlns:a16="http://schemas.microsoft.com/office/drawing/2014/main" xmlns="" id="{E5B43FFB-474C-49C8-9AE0-C063BC0CC599}"/>
              </a:ext>
            </a:extLst>
          </p:cNvPr>
          <p:cNvSpPr/>
          <p:nvPr/>
        </p:nvSpPr>
        <p:spPr bwMode="auto">
          <a:xfrm>
            <a:off x="3518389" y="2775201"/>
            <a:ext cx="3827860" cy="3500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7" name="Rectangle 9">
            <a:extLst>
              <a:ext uri="{FF2B5EF4-FFF2-40B4-BE49-F238E27FC236}">
                <a16:creationId xmlns:a16="http://schemas.microsoft.com/office/drawing/2014/main" xmlns="" id="{1492E3C0-5ACF-43BF-AE37-7CA575BBB091}"/>
              </a:ext>
            </a:extLst>
          </p:cNvPr>
          <p:cNvSpPr/>
          <p:nvPr/>
        </p:nvSpPr>
        <p:spPr bwMode="auto">
          <a:xfrm>
            <a:off x="7777255" y="2864499"/>
            <a:ext cx="3827859" cy="303609"/>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8" name="Rectangle 10">
            <a:extLst>
              <a:ext uri="{FF2B5EF4-FFF2-40B4-BE49-F238E27FC236}">
                <a16:creationId xmlns:a16="http://schemas.microsoft.com/office/drawing/2014/main" xmlns="" id="{2F88F7B4-1A6C-4AFC-BF7D-EB5B8041D69A}"/>
              </a:ext>
            </a:extLst>
          </p:cNvPr>
          <p:cNvSpPr/>
          <p:nvPr/>
        </p:nvSpPr>
        <p:spPr bwMode="auto">
          <a:xfrm>
            <a:off x="7777255" y="2775201"/>
            <a:ext cx="3827859" cy="35004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19" name="Rectangle 13">
            <a:extLst>
              <a:ext uri="{FF2B5EF4-FFF2-40B4-BE49-F238E27FC236}">
                <a16:creationId xmlns:a16="http://schemas.microsoft.com/office/drawing/2014/main" xmlns="" id="{D8F91DBF-31E8-40C3-AFEE-26350902926F}"/>
              </a:ext>
            </a:extLst>
          </p:cNvPr>
          <p:cNvSpPr/>
          <p:nvPr/>
        </p:nvSpPr>
        <p:spPr>
          <a:xfrm>
            <a:off x="3518389" y="3516854"/>
            <a:ext cx="1840706" cy="2823087"/>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0" name="Rectangle 14">
            <a:extLst>
              <a:ext uri="{FF2B5EF4-FFF2-40B4-BE49-F238E27FC236}">
                <a16:creationId xmlns:a16="http://schemas.microsoft.com/office/drawing/2014/main" xmlns="" id="{80A14867-CD20-48FD-A373-DA0BF8F2A66D}"/>
              </a:ext>
            </a:extLst>
          </p:cNvPr>
          <p:cNvSpPr/>
          <p:nvPr/>
        </p:nvSpPr>
        <p:spPr>
          <a:xfrm>
            <a:off x="3518389" y="3515770"/>
            <a:ext cx="1845820"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1" name="Rectangle 15">
            <a:extLst>
              <a:ext uri="{FF2B5EF4-FFF2-40B4-BE49-F238E27FC236}">
                <a16:creationId xmlns:a16="http://schemas.microsoft.com/office/drawing/2014/main" xmlns="" id="{3ECD1910-13C8-4425-96BC-6990C516FFFE}"/>
              </a:ext>
            </a:extLst>
          </p:cNvPr>
          <p:cNvSpPr/>
          <p:nvPr/>
        </p:nvSpPr>
        <p:spPr>
          <a:xfrm>
            <a:off x="5493637" y="3649821"/>
            <a:ext cx="1847011" cy="269012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2" name="Rectangle 16">
            <a:extLst>
              <a:ext uri="{FF2B5EF4-FFF2-40B4-BE49-F238E27FC236}">
                <a16:creationId xmlns:a16="http://schemas.microsoft.com/office/drawing/2014/main" xmlns="" id="{E0645C7F-C00D-4F08-BCF8-ECDD08034137}"/>
              </a:ext>
            </a:extLst>
          </p:cNvPr>
          <p:cNvSpPr/>
          <p:nvPr/>
        </p:nvSpPr>
        <p:spPr>
          <a:xfrm>
            <a:off x="5493637" y="3515770"/>
            <a:ext cx="1847011"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3" name="Rectangle 19">
            <a:extLst>
              <a:ext uri="{FF2B5EF4-FFF2-40B4-BE49-F238E27FC236}">
                <a16:creationId xmlns:a16="http://schemas.microsoft.com/office/drawing/2014/main" xmlns="" id="{24F5F4B2-899F-4627-8D85-5B54F2610EA5}"/>
              </a:ext>
            </a:extLst>
          </p:cNvPr>
          <p:cNvSpPr/>
          <p:nvPr/>
        </p:nvSpPr>
        <p:spPr>
          <a:xfrm>
            <a:off x="7777743" y="3657454"/>
            <a:ext cx="1852125" cy="2683248"/>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4" name="Rectangle 20">
            <a:extLst>
              <a:ext uri="{FF2B5EF4-FFF2-40B4-BE49-F238E27FC236}">
                <a16:creationId xmlns:a16="http://schemas.microsoft.com/office/drawing/2014/main" xmlns="" id="{4AEA2723-209D-4AFE-AE0E-97BDD42DAF08}"/>
              </a:ext>
            </a:extLst>
          </p:cNvPr>
          <p:cNvSpPr/>
          <p:nvPr/>
        </p:nvSpPr>
        <p:spPr>
          <a:xfrm>
            <a:off x="7777743" y="3536226"/>
            <a:ext cx="1847011" cy="35123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sp>
        <p:nvSpPr>
          <p:cNvPr id="25" name="Rectangle 21">
            <a:extLst>
              <a:ext uri="{FF2B5EF4-FFF2-40B4-BE49-F238E27FC236}">
                <a16:creationId xmlns:a16="http://schemas.microsoft.com/office/drawing/2014/main" xmlns="" id="{5490B377-415B-434B-B71C-EACAA60F2FD9}"/>
              </a:ext>
            </a:extLst>
          </p:cNvPr>
          <p:cNvSpPr/>
          <p:nvPr/>
        </p:nvSpPr>
        <p:spPr>
          <a:xfrm>
            <a:off x="9764408" y="3657454"/>
            <a:ext cx="1840706" cy="2683248"/>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2700" dirty="0">
              <a:latin typeface="+mj-lt"/>
            </a:endParaRPr>
          </a:p>
        </p:txBody>
      </p:sp>
      <p:sp>
        <p:nvSpPr>
          <p:cNvPr id="26" name="Rectangle 22">
            <a:extLst>
              <a:ext uri="{FF2B5EF4-FFF2-40B4-BE49-F238E27FC236}">
                <a16:creationId xmlns:a16="http://schemas.microsoft.com/office/drawing/2014/main" xmlns="" id="{73A2F6EF-0E95-4BF3-AEAE-1051D490598D}"/>
              </a:ext>
            </a:extLst>
          </p:cNvPr>
          <p:cNvSpPr/>
          <p:nvPr/>
        </p:nvSpPr>
        <p:spPr>
          <a:xfrm>
            <a:off x="9764408" y="3515770"/>
            <a:ext cx="1845820" cy="35123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sz="1400" dirty="0">
              <a:latin typeface="+mj-lt"/>
            </a:endParaRPr>
          </a:p>
        </p:txBody>
      </p:sp>
      <p:cxnSp>
        <p:nvCxnSpPr>
          <p:cNvPr id="27" name="Straight Connector 35">
            <a:extLst>
              <a:ext uri="{FF2B5EF4-FFF2-40B4-BE49-F238E27FC236}">
                <a16:creationId xmlns:a16="http://schemas.microsoft.com/office/drawing/2014/main" xmlns="" id="{C20E747C-2B58-41DE-B21F-DD37218E7ACA}"/>
              </a:ext>
            </a:extLst>
          </p:cNvPr>
          <p:cNvCxnSpPr>
            <a:cxnSpLocks/>
            <a:stCxn id="15" idx="2"/>
          </p:cNvCxnSpPr>
          <p:nvPr/>
        </p:nvCxnSpPr>
        <p:spPr bwMode="auto">
          <a:xfrm>
            <a:off x="5432320" y="3168108"/>
            <a:ext cx="1785" cy="166687"/>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8" name="Straight Connector 36">
            <a:extLst>
              <a:ext uri="{FF2B5EF4-FFF2-40B4-BE49-F238E27FC236}">
                <a16:creationId xmlns:a16="http://schemas.microsoft.com/office/drawing/2014/main" xmlns="" id="{75A2ACBA-3EA0-4B0C-9537-BF8E53AAA5CD}"/>
              </a:ext>
            </a:extLst>
          </p:cNvPr>
          <p:cNvCxnSpPr>
            <a:cxnSpLocks/>
          </p:cNvCxnSpPr>
          <p:nvPr/>
        </p:nvCxnSpPr>
        <p:spPr bwMode="auto">
          <a:xfrm>
            <a:off x="4438743" y="3338366"/>
            <a:ext cx="1976437" cy="0"/>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33">
            <a:extLst>
              <a:ext uri="{FF2B5EF4-FFF2-40B4-BE49-F238E27FC236}">
                <a16:creationId xmlns:a16="http://schemas.microsoft.com/office/drawing/2014/main" xmlns="" id="{7CC217E5-1D07-4626-ACC2-DC4E20DED28E}"/>
              </a:ext>
            </a:extLst>
          </p:cNvPr>
          <p:cNvCxnSpPr>
            <a:cxnSpLocks/>
          </p:cNvCxnSpPr>
          <p:nvPr/>
        </p:nvCxnSpPr>
        <p:spPr bwMode="auto">
          <a:xfrm>
            <a:off x="4438742" y="3338366"/>
            <a:ext cx="0" cy="173832"/>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34">
            <a:extLst>
              <a:ext uri="{FF2B5EF4-FFF2-40B4-BE49-F238E27FC236}">
                <a16:creationId xmlns:a16="http://schemas.microsoft.com/office/drawing/2014/main" xmlns="" id="{142494D4-2A11-4244-9809-BCC4BAD9381E}"/>
              </a:ext>
            </a:extLst>
          </p:cNvPr>
          <p:cNvCxnSpPr>
            <a:cxnSpLocks/>
            <a:endCxn id="22" idx="0"/>
          </p:cNvCxnSpPr>
          <p:nvPr/>
        </p:nvCxnSpPr>
        <p:spPr bwMode="auto">
          <a:xfrm>
            <a:off x="6415180" y="3334796"/>
            <a:ext cx="1963" cy="180974"/>
          </a:xfrm>
          <a:prstGeom prst="line">
            <a:avLst/>
          </a:prstGeom>
          <a:ln w="38100">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31" name="TextBox 58">
            <a:extLst>
              <a:ext uri="{FF2B5EF4-FFF2-40B4-BE49-F238E27FC236}">
                <a16:creationId xmlns:a16="http://schemas.microsoft.com/office/drawing/2014/main" xmlns="" id="{21C07DE5-AB33-479E-973B-B7683A462402}"/>
              </a:ext>
            </a:extLst>
          </p:cNvPr>
          <p:cNvSpPr txBox="1"/>
          <p:nvPr/>
        </p:nvSpPr>
        <p:spPr>
          <a:xfrm>
            <a:off x="6891888" y="1878952"/>
            <a:ext cx="1339726" cy="473335"/>
          </a:xfrm>
          <a:prstGeom prst="rect">
            <a:avLst/>
          </a:prstGeom>
          <a:noFill/>
        </p:spPr>
        <p:txBody>
          <a:bodyPr wrap="none" rtlCol="0" anchor="ctr" anchorCtr="0">
            <a:spAutoFit/>
          </a:bodyPr>
          <a:lstStyle/>
          <a:p>
            <a:pPr algn="ctr"/>
            <a:r>
              <a:rPr lang="en-GB" sz="2476" b="1">
                <a:solidFill>
                  <a:schemeClr val="bg1"/>
                </a:solidFill>
                <a:latin typeface="+mj-lt"/>
                <a:ea typeface="League Spartan" charset="0"/>
                <a:cs typeface="Poppins" pitchFamily="2" charset="77"/>
              </a:rPr>
              <a:t>ANALYSE</a:t>
            </a:r>
            <a:endParaRPr lang="en-GB" sz="2476" b="1" dirty="0">
              <a:solidFill>
                <a:schemeClr val="bg1"/>
              </a:solidFill>
              <a:latin typeface="+mj-lt"/>
              <a:ea typeface="League Spartan" charset="0"/>
              <a:cs typeface="Poppins" pitchFamily="2" charset="77"/>
            </a:endParaRPr>
          </a:p>
        </p:txBody>
      </p:sp>
      <p:sp>
        <p:nvSpPr>
          <p:cNvPr id="32" name="TextBox 59">
            <a:extLst>
              <a:ext uri="{FF2B5EF4-FFF2-40B4-BE49-F238E27FC236}">
                <a16:creationId xmlns:a16="http://schemas.microsoft.com/office/drawing/2014/main" xmlns="" id="{4A0E62F7-18B8-44D8-959E-7880E7A1E932}"/>
              </a:ext>
            </a:extLst>
          </p:cNvPr>
          <p:cNvSpPr txBox="1"/>
          <p:nvPr/>
        </p:nvSpPr>
        <p:spPr>
          <a:xfrm>
            <a:off x="4992388" y="2763048"/>
            <a:ext cx="869149"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INTERN</a:t>
            </a:r>
          </a:p>
        </p:txBody>
      </p:sp>
      <p:sp>
        <p:nvSpPr>
          <p:cNvPr id="33" name="TextBox 60">
            <a:extLst>
              <a:ext uri="{FF2B5EF4-FFF2-40B4-BE49-F238E27FC236}">
                <a16:creationId xmlns:a16="http://schemas.microsoft.com/office/drawing/2014/main" xmlns="" id="{B5BA8DEE-BE90-44AD-8CCC-5A2D4796671E}"/>
              </a:ext>
            </a:extLst>
          </p:cNvPr>
          <p:cNvSpPr txBox="1"/>
          <p:nvPr/>
        </p:nvSpPr>
        <p:spPr>
          <a:xfrm>
            <a:off x="9249947" y="2763048"/>
            <a:ext cx="893193" cy="369332"/>
          </a:xfrm>
          <a:prstGeom prst="rect">
            <a:avLst/>
          </a:prstGeom>
          <a:noFill/>
        </p:spPr>
        <p:txBody>
          <a:bodyPr wrap="none" rtlCol="0" anchor="ctr" anchorCtr="0">
            <a:spAutoFit/>
          </a:bodyPr>
          <a:lstStyle/>
          <a:p>
            <a:pPr algn="ctr"/>
            <a:r>
              <a:rPr lang="en-GB" b="1" dirty="0">
                <a:solidFill>
                  <a:schemeClr val="bg1"/>
                </a:solidFill>
                <a:latin typeface="+mj-lt"/>
                <a:ea typeface="League Spartan" charset="0"/>
                <a:cs typeface="Poppins" pitchFamily="2" charset="77"/>
              </a:rPr>
              <a:t>EXTERN</a:t>
            </a:r>
          </a:p>
        </p:txBody>
      </p:sp>
      <p:sp>
        <p:nvSpPr>
          <p:cNvPr id="34" name="TextBox 61">
            <a:extLst>
              <a:ext uri="{FF2B5EF4-FFF2-40B4-BE49-F238E27FC236}">
                <a16:creationId xmlns:a16="http://schemas.microsoft.com/office/drawing/2014/main" xmlns="" id="{9E8C4B57-FD37-4B78-840E-6D153CB3B704}"/>
              </a:ext>
            </a:extLst>
          </p:cNvPr>
          <p:cNvSpPr txBox="1"/>
          <p:nvPr/>
        </p:nvSpPr>
        <p:spPr>
          <a:xfrm>
            <a:off x="10162352" y="3557954"/>
            <a:ext cx="1181633" cy="307777"/>
          </a:xfrm>
          <a:prstGeom prst="rect">
            <a:avLst/>
          </a:prstGeom>
          <a:noFill/>
        </p:spPr>
        <p:txBody>
          <a:bodyPr wrap="square" rtlCol="0" anchor="ctr" anchorCtr="0">
            <a:spAutoFit/>
          </a:bodyPr>
          <a:lstStyle/>
          <a:p>
            <a:pPr algn="ctr"/>
            <a:r>
              <a:rPr lang="en-GB" sz="1400" b="1" dirty="0" err="1">
                <a:solidFill>
                  <a:schemeClr val="bg1"/>
                </a:solidFill>
                <a:latin typeface="+mj-lt"/>
                <a:ea typeface="League Spartan" charset="0"/>
                <a:cs typeface="Poppins" pitchFamily="2" charset="77"/>
              </a:rPr>
              <a:t>Bedrohungen</a:t>
            </a:r>
            <a:endParaRPr lang="en-GB" sz="1400" b="1" dirty="0">
              <a:solidFill>
                <a:schemeClr val="bg1"/>
              </a:solidFill>
              <a:latin typeface="+mj-lt"/>
              <a:ea typeface="League Spartan" charset="0"/>
              <a:cs typeface="Poppins" pitchFamily="2" charset="77"/>
            </a:endParaRPr>
          </a:p>
        </p:txBody>
      </p:sp>
      <p:sp>
        <p:nvSpPr>
          <p:cNvPr id="35" name="TextBox 62">
            <a:extLst>
              <a:ext uri="{FF2B5EF4-FFF2-40B4-BE49-F238E27FC236}">
                <a16:creationId xmlns:a16="http://schemas.microsoft.com/office/drawing/2014/main" xmlns="" id="{F5496BF7-C078-4C18-B82F-795F701754D2}"/>
              </a:ext>
            </a:extLst>
          </p:cNvPr>
          <p:cNvSpPr txBox="1"/>
          <p:nvPr/>
        </p:nvSpPr>
        <p:spPr>
          <a:xfrm>
            <a:off x="8042038" y="3537499"/>
            <a:ext cx="1506841" cy="307777"/>
          </a:xfrm>
          <a:prstGeom prst="rect">
            <a:avLst/>
          </a:prstGeom>
          <a:noFill/>
        </p:spPr>
        <p:txBody>
          <a:bodyPr wrap="square" rtlCol="0" anchor="ctr" anchorCtr="0">
            <a:spAutoFit/>
          </a:bodyPr>
          <a:lstStyle/>
          <a:p>
            <a:pPr algn="ctr"/>
            <a:r>
              <a:rPr lang="en-GB" sz="1400" b="1" dirty="0" err="1">
                <a:solidFill>
                  <a:schemeClr val="bg1"/>
                </a:solidFill>
                <a:latin typeface="+mj-lt"/>
                <a:ea typeface="League Spartan" charset="0"/>
                <a:cs typeface="Poppins" pitchFamily="2" charset="77"/>
              </a:rPr>
              <a:t>Chancen</a:t>
            </a:r>
            <a:endParaRPr lang="en-GB" sz="1400" b="1" dirty="0">
              <a:solidFill>
                <a:schemeClr val="bg1"/>
              </a:solidFill>
              <a:latin typeface="+mj-lt"/>
              <a:ea typeface="League Spartan" charset="0"/>
              <a:cs typeface="Poppins" pitchFamily="2" charset="77"/>
            </a:endParaRPr>
          </a:p>
        </p:txBody>
      </p:sp>
      <p:sp>
        <p:nvSpPr>
          <p:cNvPr id="36" name="TextBox 63">
            <a:extLst>
              <a:ext uri="{FF2B5EF4-FFF2-40B4-BE49-F238E27FC236}">
                <a16:creationId xmlns:a16="http://schemas.microsoft.com/office/drawing/2014/main" xmlns="" id="{E34E5659-F598-464E-A298-857BF0C44D25}"/>
              </a:ext>
            </a:extLst>
          </p:cNvPr>
          <p:cNvSpPr txBox="1"/>
          <p:nvPr/>
        </p:nvSpPr>
        <p:spPr>
          <a:xfrm>
            <a:off x="5686893" y="3537499"/>
            <a:ext cx="1574295"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SCHWÄCHEN</a:t>
            </a:r>
          </a:p>
        </p:txBody>
      </p:sp>
      <p:sp>
        <p:nvSpPr>
          <p:cNvPr id="37" name="TextBox 64">
            <a:extLst>
              <a:ext uri="{FF2B5EF4-FFF2-40B4-BE49-F238E27FC236}">
                <a16:creationId xmlns:a16="http://schemas.microsoft.com/office/drawing/2014/main" xmlns="" id="{86D9A180-401F-4563-9D6E-62402469BAF4}"/>
              </a:ext>
            </a:extLst>
          </p:cNvPr>
          <p:cNvSpPr txBox="1"/>
          <p:nvPr/>
        </p:nvSpPr>
        <p:spPr>
          <a:xfrm>
            <a:off x="3776702" y="3546508"/>
            <a:ext cx="1324080" cy="307777"/>
          </a:xfrm>
          <a:prstGeom prst="rect">
            <a:avLst/>
          </a:prstGeom>
          <a:noFill/>
        </p:spPr>
        <p:txBody>
          <a:bodyPr wrap="square" rtlCol="0" anchor="ctr" anchorCtr="0">
            <a:spAutoFit/>
          </a:bodyPr>
          <a:lstStyle/>
          <a:p>
            <a:pPr algn="ctr"/>
            <a:r>
              <a:rPr lang="en-GB" sz="1400" b="1" dirty="0">
                <a:solidFill>
                  <a:schemeClr val="bg1"/>
                </a:solidFill>
                <a:latin typeface="+mj-lt"/>
                <a:ea typeface="League Spartan" charset="0"/>
                <a:cs typeface="Poppins" pitchFamily="2" charset="77"/>
              </a:rPr>
              <a:t>STÄRKEN</a:t>
            </a:r>
          </a:p>
        </p:txBody>
      </p:sp>
      <p:sp>
        <p:nvSpPr>
          <p:cNvPr id="38" name="Subtitle 2">
            <a:extLst>
              <a:ext uri="{FF2B5EF4-FFF2-40B4-BE49-F238E27FC236}">
                <a16:creationId xmlns:a16="http://schemas.microsoft.com/office/drawing/2014/main" xmlns="" id="{E7C1F750-1F1C-4A05-99BE-8B8FBBAD535C}"/>
              </a:ext>
            </a:extLst>
          </p:cNvPr>
          <p:cNvSpPr txBox="1">
            <a:spLocks/>
          </p:cNvSpPr>
          <p:nvPr/>
        </p:nvSpPr>
        <p:spPr>
          <a:xfrm>
            <a:off x="3603898" y="3909555"/>
            <a:ext cx="1674805" cy="20597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a:solidFill>
                  <a:schemeClr val="bg1"/>
                </a:solidFill>
                <a:latin typeface="+mj-lt"/>
                <a:ea typeface="Open Sans Light" panose="020B0306030504020204" pitchFamily="34" charset="0"/>
                <a:cs typeface="Open Sans Light" panose="020B0306030504020204" pitchFamily="34" charset="0"/>
              </a:rPr>
              <a:t>Stärken beschreiben, worin sich ein Unternehmen auszeichnet und was es von der Konkurrenz abhebt: eine starke Marke, ein treuer Kundenstamm, eine starke Bilanz, eine einzigartige Technologie, und </a:t>
            </a:r>
            <a:r>
              <a:rPr lang="en-GB" sz="1400" dirty="0">
                <a:solidFill>
                  <a:schemeClr val="bg1"/>
                </a:solidFill>
                <a:latin typeface="+mj-lt"/>
                <a:ea typeface="Open Sans Light" panose="020B0306030504020204" pitchFamily="34" charset="0"/>
                <a:cs typeface="Open Sans Light" panose="020B0306030504020204" pitchFamily="34" charset="0"/>
              </a:rPr>
              <a:t/>
            </a:r>
            <a:br>
              <a:rPr lang="en-GB" sz="1400" dirty="0">
                <a:solidFill>
                  <a:schemeClr val="bg1"/>
                </a:solidFill>
                <a:latin typeface="+mj-lt"/>
                <a:ea typeface="Open Sans Light" panose="020B0306030504020204" pitchFamily="34" charset="0"/>
                <a:cs typeface="Open Sans Light" panose="020B0306030504020204" pitchFamily="34" charset="0"/>
              </a:rPr>
            </a:br>
            <a:r>
              <a:rPr lang="en-GB" sz="1400">
                <a:solidFill>
                  <a:schemeClr val="bg1"/>
                </a:solidFill>
                <a:latin typeface="+mj-lt"/>
                <a:ea typeface="Open Sans Light" panose="020B0306030504020204" pitchFamily="34" charset="0"/>
                <a:cs typeface="Open Sans Light" panose="020B0306030504020204" pitchFamily="34" charset="0"/>
              </a:rPr>
              <a:t>und so weiter. </a:t>
            </a: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39" name="Subtitle 2">
            <a:extLst>
              <a:ext uri="{FF2B5EF4-FFF2-40B4-BE49-F238E27FC236}">
                <a16:creationId xmlns:a16="http://schemas.microsoft.com/office/drawing/2014/main" xmlns="" id="{4565241B-0259-4F78-A1EC-5D561528C49C}"/>
              </a:ext>
            </a:extLst>
          </p:cNvPr>
          <p:cNvSpPr txBox="1">
            <a:spLocks/>
          </p:cNvSpPr>
          <p:nvPr/>
        </p:nvSpPr>
        <p:spPr>
          <a:xfrm>
            <a:off x="5579739" y="3909555"/>
            <a:ext cx="1674805"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a:solidFill>
                  <a:schemeClr val="bg1"/>
                </a:solidFill>
                <a:latin typeface="+mj-lt"/>
                <a:ea typeface="Open Sans Light" panose="020B0306030504020204" pitchFamily="34" charset="0"/>
                <a:cs typeface="Open Sans Light" panose="020B0306030504020204" pitchFamily="34" charset="0"/>
              </a:rPr>
              <a:t>Schwäch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hinder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i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Unternehm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daran</a:t>
            </a:r>
            <a:r>
              <a:rPr lang="en-GB" sz="1400" dirty="0">
                <a:solidFill>
                  <a:schemeClr val="bg1"/>
                </a:solidFill>
                <a:latin typeface="+mj-lt"/>
                <a:ea typeface="Open Sans Light" panose="020B0306030504020204" pitchFamily="34" charset="0"/>
                <a:cs typeface="Open Sans Light" panose="020B0306030504020204" pitchFamily="34" charset="0"/>
              </a:rPr>
              <a:t>, sein Optimum </a:t>
            </a:r>
            <a:r>
              <a:rPr lang="en-GB" sz="1400" dirty="0" err="1">
                <a:solidFill>
                  <a:schemeClr val="bg1"/>
                </a:solidFill>
                <a:latin typeface="+mj-lt"/>
                <a:ea typeface="Open Sans Light" panose="020B0306030504020204" pitchFamily="34" charset="0"/>
                <a:cs typeface="Open Sans Light" panose="020B0306030504020204" pitchFamily="34" charset="0"/>
              </a:rPr>
              <a:t>zu</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rreichen</a:t>
            </a:r>
            <a:r>
              <a:rPr lang="en-GB" sz="1400" dirty="0">
                <a:solidFill>
                  <a:schemeClr val="bg1"/>
                </a:solidFill>
                <a:latin typeface="+mj-lt"/>
                <a:ea typeface="Open Sans Light" panose="020B0306030504020204" pitchFamily="34" charset="0"/>
                <a:cs typeface="Open Sans Light" panose="020B0306030504020204" pitchFamily="34" charset="0"/>
              </a:rPr>
              <a:t>. Sie </a:t>
            </a:r>
            <a:r>
              <a:rPr lang="en-GB" sz="1400" dirty="0" err="1">
                <a:solidFill>
                  <a:schemeClr val="bg1"/>
                </a:solidFill>
                <a:latin typeface="+mj-lt"/>
                <a:ea typeface="Open Sans Light" panose="020B0306030504020204" pitchFamily="34" charset="0"/>
                <a:cs typeface="Open Sans Light" panose="020B0306030504020204" pitchFamily="34" charset="0"/>
              </a:rPr>
              <a:t>sind</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Bereiche</a:t>
            </a:r>
            <a:r>
              <a:rPr lang="en-GB" sz="1400" dirty="0">
                <a:solidFill>
                  <a:schemeClr val="bg1"/>
                </a:solidFill>
                <a:latin typeface="+mj-lt"/>
                <a:ea typeface="Open Sans Light" panose="020B0306030504020204" pitchFamily="34" charset="0"/>
                <a:cs typeface="Open Sans Light" panose="020B0306030504020204" pitchFamily="34" charset="0"/>
              </a:rPr>
              <a:t>, in </a:t>
            </a:r>
            <a:r>
              <a:rPr lang="en-GB" sz="1400" dirty="0" err="1">
                <a:solidFill>
                  <a:schemeClr val="bg1"/>
                </a:solidFill>
                <a:latin typeface="+mj-lt"/>
                <a:ea typeface="Open Sans Light" panose="020B0306030504020204" pitchFamily="34" charset="0"/>
                <a:cs typeface="Open Sans Light" panose="020B0306030504020204" pitchFamily="34" charset="0"/>
              </a:rPr>
              <a:t>den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sich</a:t>
            </a:r>
            <a:r>
              <a:rPr lang="en-GB" sz="1400" dirty="0">
                <a:solidFill>
                  <a:schemeClr val="bg1"/>
                </a:solidFill>
                <a:latin typeface="+mj-lt"/>
                <a:ea typeface="Open Sans Light" panose="020B0306030504020204" pitchFamily="34" charset="0"/>
                <a:cs typeface="Open Sans Light" panose="020B0306030504020204" pitchFamily="34" charset="0"/>
              </a:rPr>
              <a:t> das </a:t>
            </a:r>
            <a:r>
              <a:rPr lang="en-GB" sz="1400" dirty="0" err="1">
                <a:solidFill>
                  <a:schemeClr val="bg1"/>
                </a:solidFill>
                <a:latin typeface="+mj-lt"/>
                <a:ea typeface="Open Sans Light" panose="020B0306030504020204" pitchFamily="34" charset="0"/>
                <a:cs typeface="Open Sans Light" panose="020B0306030504020204" pitchFamily="34" charset="0"/>
              </a:rPr>
              <a:t>Unternehm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verbessern</a:t>
            </a:r>
            <a:r>
              <a:rPr lang="en-GB" sz="1400" dirty="0">
                <a:solidFill>
                  <a:schemeClr val="bg1"/>
                </a:solidFill>
                <a:latin typeface="+mj-lt"/>
                <a:ea typeface="Open Sans Light" panose="020B0306030504020204" pitchFamily="34" charset="0"/>
                <a:cs typeface="Open Sans Light" panose="020B0306030504020204" pitchFamily="34" charset="0"/>
              </a:rPr>
              <a:t> muss, um </a:t>
            </a:r>
            <a:r>
              <a:rPr lang="en-GB" sz="1400" dirty="0" err="1">
                <a:solidFill>
                  <a:schemeClr val="bg1"/>
                </a:solidFill>
                <a:latin typeface="+mj-lt"/>
                <a:ea typeface="Open Sans Light" panose="020B0306030504020204" pitchFamily="34" charset="0"/>
                <a:cs typeface="Open Sans Light" panose="020B0306030504020204" pitchFamily="34" charset="0"/>
              </a:rPr>
              <a:t>wettbewerbsfähig</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zu</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bleib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in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schwach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Mark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hoh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Schuld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usw</a:t>
            </a:r>
            <a:r>
              <a:rPr lang="en-GB" sz="1400" dirty="0">
                <a:solidFill>
                  <a:schemeClr val="bg1"/>
                </a:solidFill>
                <a:latin typeface="+mj-lt"/>
                <a:ea typeface="Open Sans Light" panose="020B0306030504020204" pitchFamily="34" charset="0"/>
                <a:cs typeface="Open Sans Light" panose="020B0306030504020204" pitchFamily="34" charset="0"/>
              </a:rPr>
              <a:t>.</a:t>
            </a:r>
          </a:p>
        </p:txBody>
      </p:sp>
      <p:sp>
        <p:nvSpPr>
          <p:cNvPr id="40" name="Subtitle 2">
            <a:extLst>
              <a:ext uri="{FF2B5EF4-FFF2-40B4-BE49-F238E27FC236}">
                <a16:creationId xmlns:a16="http://schemas.microsoft.com/office/drawing/2014/main" xmlns="" id="{AC4F719D-5A49-41E8-92DD-67A28B373485}"/>
              </a:ext>
            </a:extLst>
          </p:cNvPr>
          <p:cNvSpPr txBox="1">
            <a:spLocks/>
          </p:cNvSpPr>
          <p:nvPr/>
        </p:nvSpPr>
        <p:spPr>
          <a:xfrm>
            <a:off x="7874074" y="3909555"/>
            <a:ext cx="1674805" cy="241885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400" dirty="0" err="1">
                <a:solidFill>
                  <a:schemeClr val="bg1"/>
                </a:solidFill>
                <a:latin typeface="+mj-lt"/>
                <a:ea typeface="Open Sans Light" panose="020B0306030504020204" pitchFamily="34" charset="0"/>
                <a:cs typeface="Open Sans Light" panose="020B0306030504020204" pitchFamily="34" charset="0"/>
              </a:rPr>
              <a:t>Chanc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bezieh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sich</a:t>
            </a:r>
            <a:r>
              <a:rPr lang="en-GB" sz="1400" dirty="0">
                <a:solidFill>
                  <a:schemeClr val="bg1"/>
                </a:solidFill>
                <a:latin typeface="+mj-lt"/>
                <a:ea typeface="Open Sans Light" panose="020B0306030504020204" pitchFamily="34" charset="0"/>
                <a:cs typeface="Open Sans Light" panose="020B0306030504020204" pitchFamily="34" charset="0"/>
              </a:rPr>
              <a:t> auf </a:t>
            </a:r>
            <a:r>
              <a:rPr lang="en-GB" sz="1400" dirty="0" err="1">
                <a:solidFill>
                  <a:schemeClr val="bg1"/>
                </a:solidFill>
                <a:latin typeface="+mj-lt"/>
                <a:ea typeface="Open Sans Light" panose="020B0306030504020204" pitchFamily="34" charset="0"/>
                <a:cs typeface="Open Sans Light" panose="020B0306030504020204" pitchFamily="34" charset="0"/>
              </a:rPr>
              <a:t>günstig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xtern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Faktoren</a:t>
            </a:r>
            <a:r>
              <a:rPr lang="en-GB" sz="1400" dirty="0">
                <a:solidFill>
                  <a:schemeClr val="bg1"/>
                </a:solidFill>
                <a:latin typeface="+mj-lt"/>
                <a:ea typeface="Open Sans Light" panose="020B0306030504020204" pitchFamily="34" charset="0"/>
                <a:cs typeface="Open Sans Light" panose="020B0306030504020204" pitchFamily="34" charset="0"/>
              </a:rPr>
              <a:t>, die </a:t>
            </a:r>
            <a:r>
              <a:rPr lang="en-GB" sz="1400" dirty="0" err="1">
                <a:solidFill>
                  <a:schemeClr val="bg1"/>
                </a:solidFill>
                <a:latin typeface="+mj-lt"/>
                <a:ea typeface="Open Sans Light" panose="020B0306030504020204" pitchFamily="34" charset="0"/>
                <a:cs typeface="Open Sans Light" panose="020B0306030504020204" pitchFamily="34" charset="0"/>
              </a:rPr>
              <a:t>einer</a:t>
            </a:r>
            <a:r>
              <a:rPr lang="en-GB" sz="1400" dirty="0">
                <a:solidFill>
                  <a:schemeClr val="bg1"/>
                </a:solidFill>
                <a:latin typeface="+mj-lt"/>
                <a:ea typeface="Open Sans Light" panose="020B0306030504020204" pitchFamily="34" charset="0"/>
                <a:cs typeface="Open Sans Light" panose="020B0306030504020204" pitchFamily="34" charset="0"/>
              </a:rPr>
              <a:t> Organisation </a:t>
            </a:r>
            <a:r>
              <a:rPr lang="en-GB" sz="1400" dirty="0" err="1">
                <a:solidFill>
                  <a:schemeClr val="bg1"/>
                </a:solidFill>
                <a:latin typeface="+mj-lt"/>
                <a:ea typeface="Open Sans Light" panose="020B0306030504020204" pitchFamily="34" charset="0"/>
                <a:cs typeface="Open Sans Light" panose="020B0306030504020204" pitchFamily="34" charset="0"/>
              </a:rPr>
              <a:t>ein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Wettbewerbsvorteil</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verschaff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könnt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Wenn</a:t>
            </a:r>
            <a:r>
              <a:rPr lang="en-GB" sz="1400" dirty="0">
                <a:solidFill>
                  <a:schemeClr val="bg1"/>
                </a:solidFill>
                <a:latin typeface="+mj-lt"/>
                <a:ea typeface="Open Sans Light" panose="020B0306030504020204" pitchFamily="34" charset="0"/>
                <a:cs typeface="Open Sans Light" panose="020B0306030504020204" pitchFamily="34" charset="0"/>
              </a:rPr>
              <a:t> z. B. </a:t>
            </a:r>
            <a:r>
              <a:rPr lang="en-GB" sz="1400" dirty="0" err="1">
                <a:solidFill>
                  <a:schemeClr val="bg1"/>
                </a:solidFill>
                <a:latin typeface="+mj-lt"/>
                <a:ea typeface="Open Sans Light" panose="020B0306030504020204" pitchFamily="34" charset="0"/>
                <a:cs typeface="Open Sans Light" panose="020B0306030504020204" pitchFamily="34" charset="0"/>
              </a:rPr>
              <a:t>ein</a:t>
            </a:r>
            <a:r>
              <a:rPr lang="en-GB" sz="1400" dirty="0">
                <a:solidFill>
                  <a:schemeClr val="bg1"/>
                </a:solidFill>
                <a:latin typeface="+mj-lt"/>
                <a:ea typeface="Open Sans Light" panose="020B0306030504020204" pitchFamily="34" charset="0"/>
                <a:cs typeface="Open Sans Light" panose="020B0306030504020204" pitchFamily="34" charset="0"/>
              </a:rPr>
              <a:t> Land  </a:t>
            </a:r>
            <a:r>
              <a:rPr lang="en-GB" sz="1400" dirty="0" err="1">
                <a:solidFill>
                  <a:schemeClr val="bg1"/>
                </a:solidFill>
                <a:latin typeface="+mj-lt"/>
                <a:ea typeface="Open Sans Light" panose="020B0306030504020204" pitchFamily="34" charset="0"/>
                <a:cs typeface="Open Sans Light" panose="020B0306030504020204" pitchFamily="34" charset="0"/>
              </a:rPr>
              <a:t>Zölle</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senkt</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kan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i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Autohersteller</a:t>
            </a:r>
            <a:r>
              <a:rPr lang="en-GB" sz="1400" dirty="0">
                <a:solidFill>
                  <a:schemeClr val="bg1"/>
                </a:solidFill>
                <a:latin typeface="+mj-lt"/>
                <a:ea typeface="Open Sans Light" panose="020B0306030504020204" pitchFamily="34" charset="0"/>
                <a:cs typeface="Open Sans Light" panose="020B0306030504020204" pitchFamily="34" charset="0"/>
              </a:rPr>
              <a:t> Autos in </a:t>
            </a:r>
            <a:r>
              <a:rPr lang="en-GB" sz="1400" dirty="0" err="1">
                <a:solidFill>
                  <a:schemeClr val="bg1"/>
                </a:solidFill>
                <a:latin typeface="+mj-lt"/>
                <a:ea typeface="Open Sans Light" panose="020B0306030504020204" pitchFamily="34" charset="0"/>
                <a:cs typeface="Open Sans Light" panose="020B0306030504020204" pitchFamily="34" charset="0"/>
              </a:rPr>
              <a:t>ein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neuen</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Markt</a:t>
            </a:r>
            <a:r>
              <a:rPr lang="en-GB" sz="1400" dirty="0">
                <a:solidFill>
                  <a:schemeClr val="bg1"/>
                </a:solidFill>
                <a:latin typeface="+mj-lt"/>
                <a:ea typeface="Open Sans Light" panose="020B0306030504020204" pitchFamily="34" charset="0"/>
                <a:cs typeface="Open Sans Light" panose="020B0306030504020204" pitchFamily="34" charset="0"/>
              </a:rPr>
              <a:t> </a:t>
            </a:r>
            <a:r>
              <a:rPr lang="en-GB" sz="1400" dirty="0" err="1">
                <a:solidFill>
                  <a:schemeClr val="bg1"/>
                </a:solidFill>
                <a:latin typeface="+mj-lt"/>
                <a:ea typeface="Open Sans Light" panose="020B0306030504020204" pitchFamily="34" charset="0"/>
                <a:cs typeface="Open Sans Light" panose="020B0306030504020204" pitchFamily="34" charset="0"/>
              </a:rPr>
              <a:t>exportieren</a:t>
            </a:r>
            <a:r>
              <a:rPr lang="en-GB" sz="1400" dirty="0">
                <a:solidFill>
                  <a:schemeClr val="bg1"/>
                </a:solidFill>
                <a:latin typeface="+mj-lt"/>
                <a:ea typeface="Open Sans Light" panose="020B0306030504020204" pitchFamily="34" charset="0"/>
                <a:cs typeface="Open Sans Light" panose="020B0306030504020204" pitchFamily="34" charset="0"/>
              </a:rPr>
              <a:t> und </a:t>
            </a:r>
            <a:r>
              <a:rPr lang="en-GB" sz="1400" dirty="0" err="1">
                <a:solidFill>
                  <a:schemeClr val="bg1"/>
                </a:solidFill>
                <a:latin typeface="+mj-lt"/>
                <a:ea typeface="Open Sans Light" panose="020B0306030504020204" pitchFamily="34" charset="0"/>
                <a:cs typeface="Open Sans Light" panose="020B0306030504020204" pitchFamily="34" charset="0"/>
              </a:rPr>
              <a:t>profitieren</a:t>
            </a:r>
            <a:r>
              <a:rPr lang="en-GB" sz="1400" dirty="0">
                <a:solidFill>
                  <a:schemeClr val="bg1"/>
                </a:solidFill>
                <a:latin typeface="+mj-lt"/>
                <a:ea typeface="Open Sans Light" panose="020B0306030504020204" pitchFamily="34" charset="0"/>
                <a:cs typeface="Open Sans Light" panose="020B0306030504020204" pitchFamily="34" charset="0"/>
              </a:rPr>
              <a:t>.</a:t>
            </a:r>
          </a:p>
        </p:txBody>
      </p:sp>
      <p:sp>
        <p:nvSpPr>
          <p:cNvPr id="41" name="Subtitle 2">
            <a:extLst>
              <a:ext uri="{FF2B5EF4-FFF2-40B4-BE49-F238E27FC236}">
                <a16:creationId xmlns:a16="http://schemas.microsoft.com/office/drawing/2014/main" xmlns="" id="{E70D4EB7-6268-41EC-A61A-1D925FF37BF5}"/>
              </a:ext>
            </a:extLst>
          </p:cNvPr>
          <p:cNvSpPr txBox="1">
            <a:spLocks/>
          </p:cNvSpPr>
          <p:nvPr/>
        </p:nvSpPr>
        <p:spPr>
          <a:xfrm>
            <a:off x="9842772" y="3909555"/>
            <a:ext cx="1843569"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88"/>
              </a:lnSpc>
            </a:pPr>
            <a:r>
              <a:rPr lang="en-GB" sz="1300" dirty="0">
                <a:solidFill>
                  <a:schemeClr val="bg1"/>
                </a:solidFill>
                <a:latin typeface="+mj-lt"/>
                <a:ea typeface="Open Sans Light" panose="020B0306030504020204" pitchFamily="34" charset="0"/>
                <a:cs typeface="Open Sans Light" panose="020B0306030504020204" pitchFamily="34" charset="0"/>
              </a:rPr>
              <a:t>Bedrohungen beziehen sich auf Faktoren, die das Potenzial haben, einer Organisation zu schaden. </a:t>
            </a:r>
            <a:r>
              <a:rPr lang="en-GB" sz="1300" dirty="0" err="1">
                <a:solidFill>
                  <a:schemeClr val="bg1"/>
                </a:solidFill>
                <a:latin typeface="+mj-lt"/>
                <a:ea typeface="Open Sans Light" panose="020B0306030504020204" pitchFamily="34" charset="0"/>
                <a:cs typeface="Open Sans Light" panose="020B0306030504020204" pitchFamily="34" charset="0"/>
              </a:rPr>
              <a:t>Zum</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Beispiel</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ist</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eine</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Dürre</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eine</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Bedrohung</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für</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ein</a:t>
            </a:r>
            <a:r>
              <a:rPr lang="en-GB" sz="1300" dirty="0">
                <a:solidFill>
                  <a:schemeClr val="bg1"/>
                </a:solidFill>
                <a:latin typeface="+mj-lt"/>
                <a:ea typeface="Open Sans Light" panose="020B0306030504020204" pitchFamily="34" charset="0"/>
                <a:cs typeface="Open Sans Light" panose="020B0306030504020204" pitchFamily="34" charset="0"/>
              </a:rPr>
              <a:t> </a:t>
            </a:r>
            <a:r>
              <a:rPr lang="en-GB" sz="1300" dirty="0" err="1">
                <a:solidFill>
                  <a:schemeClr val="bg1"/>
                </a:solidFill>
                <a:latin typeface="+mj-lt"/>
                <a:ea typeface="Open Sans Light" panose="020B0306030504020204" pitchFamily="34" charset="0"/>
                <a:cs typeface="Open Sans Light" panose="020B0306030504020204" pitchFamily="34" charset="0"/>
              </a:rPr>
              <a:t>weizenproduzierendes</a:t>
            </a:r>
            <a:r>
              <a:rPr lang="en-GB" sz="1300" dirty="0">
                <a:solidFill>
                  <a:schemeClr val="bg1"/>
                </a:solidFill>
                <a:latin typeface="+mj-lt"/>
                <a:ea typeface="Open Sans Light" panose="020B0306030504020204" pitchFamily="34" charset="0"/>
                <a:cs typeface="Open Sans Light" panose="020B0306030504020204" pitchFamily="34" charset="0"/>
              </a:rPr>
              <a:t> Unternehmen, da </a:t>
            </a:r>
            <a:br>
              <a:rPr lang="en-GB" sz="1300" dirty="0">
                <a:solidFill>
                  <a:schemeClr val="bg1"/>
                </a:solidFill>
                <a:latin typeface="+mj-lt"/>
                <a:ea typeface="Open Sans Light" panose="020B0306030504020204" pitchFamily="34" charset="0"/>
                <a:cs typeface="Open Sans Light" panose="020B0306030504020204" pitchFamily="34" charset="0"/>
              </a:rPr>
            </a:br>
            <a:r>
              <a:rPr lang="en-GB" sz="1300" dirty="0" err="1">
                <a:solidFill>
                  <a:schemeClr val="bg1"/>
                </a:solidFill>
                <a:latin typeface="+mj-lt"/>
                <a:ea typeface="Open Sans Light" panose="020B0306030504020204" pitchFamily="34" charset="0"/>
                <a:cs typeface="Open Sans Light" panose="020B0306030504020204" pitchFamily="34" charset="0"/>
              </a:rPr>
              <a:t>sie</a:t>
            </a:r>
            <a:r>
              <a:rPr lang="en-GB" sz="1300" dirty="0">
                <a:solidFill>
                  <a:schemeClr val="bg1"/>
                </a:solidFill>
                <a:latin typeface="+mj-lt"/>
                <a:ea typeface="Open Sans Light" panose="020B0306030504020204" pitchFamily="34" charset="0"/>
                <a:cs typeface="Open Sans Light" panose="020B0306030504020204" pitchFamily="34" charset="0"/>
              </a:rPr>
              <a:t> die Ernteerträge zerstören oder reduzieren </a:t>
            </a:r>
            <a:r>
              <a:rPr lang="en-GB" sz="1300" dirty="0" err="1">
                <a:solidFill>
                  <a:schemeClr val="bg1"/>
                </a:solidFill>
                <a:latin typeface="+mj-lt"/>
                <a:ea typeface="Open Sans Light" panose="020B0306030504020204" pitchFamily="34" charset="0"/>
                <a:cs typeface="Open Sans Light" panose="020B0306030504020204" pitchFamily="34" charset="0"/>
              </a:rPr>
              <a:t>kann</a:t>
            </a:r>
            <a:r>
              <a:rPr lang="en-GB" sz="1300" dirty="0">
                <a:solidFill>
                  <a:schemeClr val="bg1"/>
                </a:solidFill>
                <a:latin typeface="+mj-lt"/>
                <a:ea typeface="Open Sans Light" panose="020B0306030504020204" pitchFamily="34" charset="0"/>
                <a:cs typeface="Open Sans Light" panose="020B0306030504020204" pitchFamily="34" charset="0"/>
              </a:rPr>
              <a:t>.</a:t>
            </a:r>
          </a:p>
        </p:txBody>
      </p:sp>
      <p:sp>
        <p:nvSpPr>
          <p:cNvPr id="42" name="Textplatzhalter 1">
            <a:extLst>
              <a:ext uri="{FF2B5EF4-FFF2-40B4-BE49-F238E27FC236}">
                <a16:creationId xmlns:a16="http://schemas.microsoft.com/office/drawing/2014/main" xmlns="" id="{D1671490-300F-4421-8E8D-4EF0CD48A2FE}"/>
              </a:ext>
            </a:extLst>
          </p:cNvPr>
          <p:cNvSpPr txBox="1">
            <a:spLocks/>
          </p:cNvSpPr>
          <p:nvPr/>
        </p:nvSpPr>
        <p:spPr>
          <a:xfrm>
            <a:off x="1491743" y="479129"/>
            <a:ext cx="5909719"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Restrukturierungskonzept</a:t>
            </a:r>
            <a:r>
              <a:rPr lang="en-GB" dirty="0"/>
              <a:t>: SWOT-Analyse</a:t>
            </a:r>
          </a:p>
        </p:txBody>
      </p:sp>
    </p:spTree>
    <p:extLst>
      <p:ext uri="{BB962C8B-B14F-4D97-AF65-F5344CB8AC3E}">
        <p14:creationId xmlns:p14="http://schemas.microsoft.com/office/powerpoint/2010/main" val="22016819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7447" y="1889589"/>
            <a:ext cx="3207546" cy="482213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ie wir in den vorangegangenen Modulen gesehen haben, ist die Kettenanalyse ein Strategiewerkzeug, das zur Analyse </a:t>
            </a:r>
            <a:r>
              <a:rPr lang="en-GB" sz="2200" dirty="0" err="1">
                <a:solidFill>
                  <a:srgbClr val="245473"/>
                </a:solidFill>
                <a:latin typeface="+mj-lt"/>
                <a:ea typeface="Open Sans Light" panose="020B0306030504020204" pitchFamily="34" charset="0"/>
                <a:cs typeface="Open Sans Light" panose="020B0306030504020204" pitchFamily="34" charset="0"/>
              </a:rPr>
              <a:t>firmeninterner</a:t>
            </a:r>
            <a:r>
              <a:rPr lang="en-GB" sz="2200" dirty="0">
                <a:solidFill>
                  <a:srgbClr val="245473"/>
                </a:solidFill>
                <a:latin typeface="+mj-lt"/>
                <a:ea typeface="Open Sans Light" panose="020B0306030504020204" pitchFamily="34" charset="0"/>
                <a:cs typeface="Open Sans Light" panose="020B0306030504020204" pitchFamily="34" charset="0"/>
              </a:rPr>
              <a:t> Aktivitäten verwendet wird. Ihr Ziel ist es zu erkennen, welche Aktivitäten für das Unternehmen am wertvollsten </a:t>
            </a:r>
            <a:r>
              <a:rPr lang="en-GB" sz="2200" dirty="0" err="1">
                <a:solidFill>
                  <a:srgbClr val="245473"/>
                </a:solidFill>
                <a:latin typeface="+mj-lt"/>
                <a:ea typeface="Open Sans Light" panose="020B0306030504020204" pitchFamily="34" charset="0"/>
                <a:cs typeface="Open Sans Light" panose="020B0306030504020204" pitchFamily="34" charset="0"/>
              </a:rPr>
              <a:t>sind</a:t>
            </a:r>
            <a:r>
              <a:rPr lang="en-GB" sz="2200" dirty="0">
                <a:solidFill>
                  <a:srgbClr val="245473"/>
                </a:solidFill>
                <a:latin typeface="+mj-lt"/>
                <a:ea typeface="Open Sans Light" panose="020B0306030504020204" pitchFamily="34" charset="0"/>
                <a:cs typeface="Open Sans Light" panose="020B0306030504020204" pitchFamily="34" charset="0"/>
              </a:rPr>
              <a:t> und welche verbessert </a:t>
            </a:r>
            <a:r>
              <a:rPr lang="en-GB" sz="2200" dirty="0" err="1">
                <a:solidFill>
                  <a:srgbClr val="245473"/>
                </a:solidFill>
                <a:latin typeface="+mj-lt"/>
                <a:ea typeface="Open Sans Light" panose="020B0306030504020204" pitchFamily="34" charset="0"/>
                <a:cs typeface="Open Sans Light" panose="020B0306030504020204" pitchFamily="34" charset="0"/>
              </a:rPr>
              <a:t>werd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könnten</a:t>
            </a:r>
            <a:r>
              <a:rPr lang="en-GB" sz="2200" dirty="0">
                <a:solidFill>
                  <a:srgbClr val="245473"/>
                </a:solidFill>
                <a:latin typeface="+mj-lt"/>
                <a:ea typeface="Open Sans Light" panose="020B0306030504020204" pitchFamily="34" charset="0"/>
                <a:cs typeface="Open Sans Light" panose="020B0306030504020204" pitchFamily="34" charset="0"/>
              </a:rPr>
              <a:t>.</a:t>
            </a:r>
            <a:endParaRPr lang="en-US" dirty="0"/>
          </a:p>
        </p:txBody>
      </p:sp>
      <p:sp>
        <p:nvSpPr>
          <p:cNvPr id="42" name="Rectangle 4">
            <a:extLst>
              <a:ext uri="{FF2B5EF4-FFF2-40B4-BE49-F238E27FC236}">
                <a16:creationId xmlns:a16="http://schemas.microsoft.com/office/drawing/2014/main" xmlns="" id="{9C233EDF-A62B-49A4-9A33-F20190F12FF4}"/>
              </a:ext>
            </a:extLst>
          </p:cNvPr>
          <p:cNvSpPr/>
          <p:nvPr/>
        </p:nvSpPr>
        <p:spPr>
          <a:xfrm>
            <a:off x="3962317" y="4052588"/>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5">
            <a:extLst>
              <a:ext uri="{FF2B5EF4-FFF2-40B4-BE49-F238E27FC236}">
                <a16:creationId xmlns:a16="http://schemas.microsoft.com/office/drawing/2014/main" xmlns="" id="{1324A4B9-8D88-402A-9A61-553034EF06F9}"/>
              </a:ext>
            </a:extLst>
          </p:cNvPr>
          <p:cNvSpPr/>
          <p:nvPr/>
        </p:nvSpPr>
        <p:spPr>
          <a:xfrm>
            <a:off x="3962317" y="5378020"/>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6">
            <a:extLst>
              <a:ext uri="{FF2B5EF4-FFF2-40B4-BE49-F238E27FC236}">
                <a16:creationId xmlns:a16="http://schemas.microsoft.com/office/drawing/2014/main" xmlns="" id="{03B21F54-579D-4DDE-9938-5F843A02E0EE}"/>
              </a:ext>
            </a:extLst>
          </p:cNvPr>
          <p:cNvSpPr/>
          <p:nvPr/>
        </p:nvSpPr>
        <p:spPr>
          <a:xfrm>
            <a:off x="3962317" y="4936209"/>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7">
            <a:extLst>
              <a:ext uri="{FF2B5EF4-FFF2-40B4-BE49-F238E27FC236}">
                <a16:creationId xmlns:a16="http://schemas.microsoft.com/office/drawing/2014/main" xmlns="" id="{415980C7-EB98-442F-B252-56448E12B071}"/>
              </a:ext>
            </a:extLst>
          </p:cNvPr>
          <p:cNvSpPr/>
          <p:nvPr/>
        </p:nvSpPr>
        <p:spPr>
          <a:xfrm>
            <a:off x="3962317" y="4494398"/>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Triangle 8">
            <a:extLst>
              <a:ext uri="{FF2B5EF4-FFF2-40B4-BE49-F238E27FC236}">
                <a16:creationId xmlns:a16="http://schemas.microsoft.com/office/drawing/2014/main" xmlns="" id="{C82CB794-0457-4CF9-9B68-162CB57104A3}"/>
              </a:ext>
            </a:extLst>
          </p:cNvPr>
          <p:cNvSpPr/>
          <p:nvPr/>
        </p:nvSpPr>
        <p:spPr>
          <a:xfrm rot="5400000">
            <a:off x="8460793" y="3330013"/>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47" name="Rectangle 9">
            <a:extLst>
              <a:ext uri="{FF2B5EF4-FFF2-40B4-BE49-F238E27FC236}">
                <a16:creationId xmlns:a16="http://schemas.microsoft.com/office/drawing/2014/main" xmlns="" id="{E812E71A-0B46-4835-B376-31E7B28C108A}"/>
              </a:ext>
            </a:extLst>
          </p:cNvPr>
          <p:cNvSpPr/>
          <p:nvPr/>
        </p:nvSpPr>
        <p:spPr>
          <a:xfrm>
            <a:off x="3962317" y="2298017"/>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8" name="Rectangle 10">
            <a:extLst>
              <a:ext uri="{FF2B5EF4-FFF2-40B4-BE49-F238E27FC236}">
                <a16:creationId xmlns:a16="http://schemas.microsoft.com/office/drawing/2014/main" xmlns="" id="{484D4BF9-926A-4C21-A14F-3411CA991DD2}"/>
              </a:ext>
            </a:extLst>
          </p:cNvPr>
          <p:cNvSpPr/>
          <p:nvPr/>
        </p:nvSpPr>
        <p:spPr>
          <a:xfrm>
            <a:off x="5065474" y="2298017"/>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9" name="Rectangle 11">
            <a:extLst>
              <a:ext uri="{FF2B5EF4-FFF2-40B4-BE49-F238E27FC236}">
                <a16:creationId xmlns:a16="http://schemas.microsoft.com/office/drawing/2014/main" xmlns="" id="{FD50AAAF-4ACA-4524-92E3-73568B8BEEA0}"/>
              </a:ext>
            </a:extLst>
          </p:cNvPr>
          <p:cNvSpPr/>
          <p:nvPr/>
        </p:nvSpPr>
        <p:spPr>
          <a:xfrm>
            <a:off x="6168632" y="2298017"/>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0" name="Rectangle 12">
            <a:extLst>
              <a:ext uri="{FF2B5EF4-FFF2-40B4-BE49-F238E27FC236}">
                <a16:creationId xmlns:a16="http://schemas.microsoft.com/office/drawing/2014/main" xmlns="" id="{4DE1B283-3240-4275-B8DE-D4B5B7FC127A}"/>
              </a:ext>
            </a:extLst>
          </p:cNvPr>
          <p:cNvSpPr/>
          <p:nvPr/>
        </p:nvSpPr>
        <p:spPr>
          <a:xfrm>
            <a:off x="7276403" y="2298017"/>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3">
            <a:extLst>
              <a:ext uri="{FF2B5EF4-FFF2-40B4-BE49-F238E27FC236}">
                <a16:creationId xmlns:a16="http://schemas.microsoft.com/office/drawing/2014/main" xmlns="" id="{DC40C1A5-08D6-4A31-B903-77E9C163448B}"/>
              </a:ext>
            </a:extLst>
          </p:cNvPr>
          <p:cNvSpPr/>
          <p:nvPr/>
        </p:nvSpPr>
        <p:spPr>
          <a:xfrm flipH="1">
            <a:off x="8385329" y="2298859"/>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TextBox 14">
            <a:extLst>
              <a:ext uri="{FF2B5EF4-FFF2-40B4-BE49-F238E27FC236}">
                <a16:creationId xmlns:a16="http://schemas.microsoft.com/office/drawing/2014/main" xmlns="" id="{2B7FFCA3-8832-494D-A5F9-C736602BD185}"/>
              </a:ext>
            </a:extLst>
          </p:cNvPr>
          <p:cNvSpPr txBox="1"/>
          <p:nvPr/>
        </p:nvSpPr>
        <p:spPr>
          <a:xfrm>
            <a:off x="5231117" y="4100298"/>
            <a:ext cx="2977675"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UNTERNEHMENS-INFRASTRUKTUR</a:t>
            </a:r>
          </a:p>
        </p:txBody>
      </p:sp>
      <p:sp>
        <p:nvSpPr>
          <p:cNvPr id="53" name="TextBox 15">
            <a:extLst>
              <a:ext uri="{FF2B5EF4-FFF2-40B4-BE49-F238E27FC236}">
                <a16:creationId xmlns:a16="http://schemas.microsoft.com/office/drawing/2014/main" xmlns="" id="{0B0B5F43-4472-42D3-A87B-855FEAF4CDFD}"/>
              </a:ext>
            </a:extLst>
          </p:cNvPr>
          <p:cNvSpPr txBox="1"/>
          <p:nvPr/>
        </p:nvSpPr>
        <p:spPr>
          <a:xfrm>
            <a:off x="5196234" y="4540780"/>
            <a:ext cx="3047437"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PERSONALMANAGEMENT</a:t>
            </a:r>
            <a:endParaRPr lang="en-GB" sz="1600" b="1" dirty="0">
              <a:solidFill>
                <a:schemeClr val="bg1"/>
              </a:solidFill>
              <a:latin typeface="+mj-lt"/>
              <a:cs typeface="Poppins" pitchFamily="2" charset="77"/>
            </a:endParaRPr>
          </a:p>
        </p:txBody>
      </p:sp>
      <p:sp>
        <p:nvSpPr>
          <p:cNvPr id="54" name="TextBox 16">
            <a:extLst>
              <a:ext uri="{FF2B5EF4-FFF2-40B4-BE49-F238E27FC236}">
                <a16:creationId xmlns:a16="http://schemas.microsoft.com/office/drawing/2014/main" xmlns="" id="{358B3BD9-1B5D-4144-B1AA-3660E3A8884E}"/>
              </a:ext>
            </a:extLst>
          </p:cNvPr>
          <p:cNvSpPr txBox="1"/>
          <p:nvPr/>
        </p:nvSpPr>
        <p:spPr>
          <a:xfrm>
            <a:off x="5428861" y="4981828"/>
            <a:ext cx="2582182"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TECHNOLOGIEENTWICKLUNG</a:t>
            </a:r>
            <a:endParaRPr lang="en-GB" sz="1600" b="1" dirty="0">
              <a:solidFill>
                <a:schemeClr val="bg1"/>
              </a:solidFill>
              <a:latin typeface="+mj-lt"/>
              <a:cs typeface="Poppins" pitchFamily="2" charset="77"/>
            </a:endParaRPr>
          </a:p>
        </p:txBody>
      </p:sp>
      <p:sp>
        <p:nvSpPr>
          <p:cNvPr id="55" name="TextBox 17">
            <a:extLst>
              <a:ext uri="{FF2B5EF4-FFF2-40B4-BE49-F238E27FC236}">
                <a16:creationId xmlns:a16="http://schemas.microsoft.com/office/drawing/2014/main" xmlns="" id="{E1519BCE-6A7C-45C7-B8EE-5AE83D30273E}"/>
              </a:ext>
            </a:extLst>
          </p:cNvPr>
          <p:cNvSpPr txBox="1"/>
          <p:nvPr/>
        </p:nvSpPr>
        <p:spPr>
          <a:xfrm>
            <a:off x="5990617" y="5422967"/>
            <a:ext cx="1458669"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BESCHAFFUNG</a:t>
            </a:r>
            <a:endParaRPr lang="en-GB" sz="1600" b="1" dirty="0">
              <a:solidFill>
                <a:schemeClr val="bg1"/>
              </a:solidFill>
              <a:latin typeface="+mj-lt"/>
              <a:cs typeface="Poppins" pitchFamily="2" charset="77"/>
            </a:endParaRPr>
          </a:p>
        </p:txBody>
      </p:sp>
      <p:sp>
        <p:nvSpPr>
          <p:cNvPr id="56" name="TextBox 23">
            <a:extLst>
              <a:ext uri="{FF2B5EF4-FFF2-40B4-BE49-F238E27FC236}">
                <a16:creationId xmlns:a16="http://schemas.microsoft.com/office/drawing/2014/main" xmlns="" id="{683D4601-BA8E-41C3-BCA1-90200A27A667}"/>
              </a:ext>
            </a:extLst>
          </p:cNvPr>
          <p:cNvSpPr txBox="1"/>
          <p:nvPr/>
        </p:nvSpPr>
        <p:spPr>
          <a:xfrm>
            <a:off x="9710429" y="3868634"/>
            <a:ext cx="76136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WERTE</a:t>
            </a:r>
          </a:p>
        </p:txBody>
      </p:sp>
      <p:sp>
        <p:nvSpPr>
          <p:cNvPr id="57" name="TextBox 25">
            <a:extLst>
              <a:ext uri="{FF2B5EF4-FFF2-40B4-BE49-F238E27FC236}">
                <a16:creationId xmlns:a16="http://schemas.microsoft.com/office/drawing/2014/main" xmlns="" id="{ECA2F8E6-ED24-47E7-B7B3-572F3DBE799B}"/>
              </a:ext>
            </a:extLst>
          </p:cNvPr>
          <p:cNvSpPr txBox="1"/>
          <p:nvPr/>
        </p:nvSpPr>
        <p:spPr>
          <a:xfrm>
            <a:off x="5803552" y="5835382"/>
            <a:ext cx="1854226"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58" name="TextBox 26">
            <a:extLst>
              <a:ext uri="{FF2B5EF4-FFF2-40B4-BE49-F238E27FC236}">
                <a16:creationId xmlns:a16="http://schemas.microsoft.com/office/drawing/2014/main" xmlns="" id="{891D1289-37E0-46DE-B247-F395980F8133}"/>
              </a:ext>
            </a:extLst>
          </p:cNvPr>
          <p:cNvSpPr txBox="1"/>
          <p:nvPr/>
        </p:nvSpPr>
        <p:spPr>
          <a:xfrm rot="16200000">
            <a:off x="2839162" y="2998687"/>
            <a:ext cx="1837683" cy="338554"/>
          </a:xfrm>
          <a:prstGeom prst="rect">
            <a:avLst/>
          </a:prstGeom>
          <a:noFill/>
        </p:spPr>
        <p:txBody>
          <a:bodyPr wrap="none" rtlCol="0" anchor="ctr">
            <a:spAutoFit/>
          </a:bodyPr>
          <a:lstStyle/>
          <a:p>
            <a:pPr algn="ctr"/>
            <a:r>
              <a:rPr lang="en-GB" sz="1600" b="1">
                <a:solidFill>
                  <a:schemeClr val="tx2"/>
                </a:solidFill>
                <a:latin typeface="+mj-lt"/>
                <a:cs typeface="Poppins" pitchFamily="2" charset="77"/>
              </a:rPr>
              <a:t>HAUPTAKTIVITÄTEN</a:t>
            </a:r>
            <a:endParaRPr lang="en-GB" sz="1600" b="1" dirty="0">
              <a:solidFill>
                <a:schemeClr val="tx2"/>
              </a:solidFill>
              <a:latin typeface="+mj-lt"/>
              <a:cs typeface="Poppins" pitchFamily="2" charset="77"/>
            </a:endParaRPr>
          </a:p>
        </p:txBody>
      </p:sp>
      <p:sp>
        <p:nvSpPr>
          <p:cNvPr id="59" name="TextBox 18">
            <a:extLst>
              <a:ext uri="{FF2B5EF4-FFF2-40B4-BE49-F238E27FC236}">
                <a16:creationId xmlns:a16="http://schemas.microsoft.com/office/drawing/2014/main" xmlns="" id="{0482A1AE-4A44-4379-8A75-A32EF6697430}"/>
              </a:ext>
            </a:extLst>
          </p:cNvPr>
          <p:cNvSpPr txBox="1"/>
          <p:nvPr/>
        </p:nvSpPr>
        <p:spPr>
          <a:xfrm>
            <a:off x="3877839" y="3377575"/>
            <a:ext cx="1284501"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INTERNE</a:t>
            </a:r>
          </a:p>
          <a:p>
            <a:pPr algn="ctr"/>
            <a:r>
              <a:rPr lang="en-GB" sz="1600" b="1" dirty="0">
                <a:solidFill>
                  <a:schemeClr val="bg1"/>
                </a:solidFill>
                <a:latin typeface="+mj-lt"/>
                <a:cs typeface="Poppins" pitchFamily="2" charset="77"/>
              </a:rPr>
              <a:t>LOGISTIK</a:t>
            </a:r>
          </a:p>
        </p:txBody>
      </p:sp>
      <p:sp>
        <p:nvSpPr>
          <p:cNvPr id="60" name="TextBox 19">
            <a:extLst>
              <a:ext uri="{FF2B5EF4-FFF2-40B4-BE49-F238E27FC236}">
                <a16:creationId xmlns:a16="http://schemas.microsoft.com/office/drawing/2014/main" xmlns="" id="{0B2B1D00-322C-4A2A-9BB5-F7102CB793EC}"/>
              </a:ext>
            </a:extLst>
          </p:cNvPr>
          <p:cNvSpPr txBox="1"/>
          <p:nvPr/>
        </p:nvSpPr>
        <p:spPr>
          <a:xfrm>
            <a:off x="4960675" y="3395338"/>
            <a:ext cx="1282339"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PRODUKTION</a:t>
            </a:r>
          </a:p>
        </p:txBody>
      </p:sp>
      <p:sp>
        <p:nvSpPr>
          <p:cNvPr id="61" name="TextBox 20">
            <a:extLst>
              <a:ext uri="{FF2B5EF4-FFF2-40B4-BE49-F238E27FC236}">
                <a16:creationId xmlns:a16="http://schemas.microsoft.com/office/drawing/2014/main" xmlns="" id="{224C32E0-F119-4A8E-B1DF-9FAE34F34BEA}"/>
              </a:ext>
            </a:extLst>
          </p:cNvPr>
          <p:cNvSpPr txBox="1"/>
          <p:nvPr/>
        </p:nvSpPr>
        <p:spPr>
          <a:xfrm>
            <a:off x="6243085" y="3333588"/>
            <a:ext cx="91121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EXTERNE</a:t>
            </a:r>
          </a:p>
          <a:p>
            <a:pPr algn="ctr"/>
            <a:r>
              <a:rPr lang="en-GB" sz="1600" b="1" dirty="0">
                <a:solidFill>
                  <a:schemeClr val="bg1"/>
                </a:solidFill>
                <a:latin typeface="+mj-lt"/>
                <a:cs typeface="Poppins" pitchFamily="2" charset="77"/>
              </a:rPr>
              <a:t>LOGISTIK</a:t>
            </a:r>
          </a:p>
        </p:txBody>
      </p:sp>
      <p:sp>
        <p:nvSpPr>
          <p:cNvPr id="62" name="TextBox 21">
            <a:extLst>
              <a:ext uri="{FF2B5EF4-FFF2-40B4-BE49-F238E27FC236}">
                <a16:creationId xmlns:a16="http://schemas.microsoft.com/office/drawing/2014/main" xmlns="" id="{14E08276-DA83-4B01-8785-1EEB7B7A119E}"/>
              </a:ext>
            </a:extLst>
          </p:cNvPr>
          <p:cNvSpPr txBox="1"/>
          <p:nvPr/>
        </p:nvSpPr>
        <p:spPr>
          <a:xfrm>
            <a:off x="7155248" y="3310548"/>
            <a:ext cx="1285846"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MARKETING &amp; VERTRIEB</a:t>
            </a:r>
          </a:p>
        </p:txBody>
      </p:sp>
      <p:sp>
        <p:nvSpPr>
          <p:cNvPr id="63" name="TextBox 22">
            <a:extLst>
              <a:ext uri="{FF2B5EF4-FFF2-40B4-BE49-F238E27FC236}">
                <a16:creationId xmlns:a16="http://schemas.microsoft.com/office/drawing/2014/main" xmlns="" id="{5CA3366C-4790-4630-9AD3-89202D826674}"/>
              </a:ext>
            </a:extLst>
          </p:cNvPr>
          <p:cNvSpPr txBox="1"/>
          <p:nvPr/>
        </p:nvSpPr>
        <p:spPr>
          <a:xfrm>
            <a:off x="8508035" y="3439822"/>
            <a:ext cx="845296"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64" name="Freeform 223">
            <a:extLst>
              <a:ext uri="{FF2B5EF4-FFF2-40B4-BE49-F238E27FC236}">
                <a16:creationId xmlns:a16="http://schemas.microsoft.com/office/drawing/2014/main" xmlns="" id="{4D77EC7A-C407-492C-A833-50CF4301C950}"/>
              </a:ext>
            </a:extLst>
          </p:cNvPr>
          <p:cNvSpPr>
            <a:spLocks noChangeArrowheads="1"/>
          </p:cNvSpPr>
          <p:nvPr/>
        </p:nvSpPr>
        <p:spPr bwMode="auto">
          <a:xfrm>
            <a:off x="5374188" y="2860806"/>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65" name="Freeform 233">
            <a:extLst>
              <a:ext uri="{FF2B5EF4-FFF2-40B4-BE49-F238E27FC236}">
                <a16:creationId xmlns:a16="http://schemas.microsoft.com/office/drawing/2014/main" xmlns="" id="{A845C0A5-EC93-4884-AB9E-9E12C9F12BB4}"/>
              </a:ext>
            </a:extLst>
          </p:cNvPr>
          <p:cNvSpPr>
            <a:spLocks noChangeArrowheads="1"/>
          </p:cNvSpPr>
          <p:nvPr/>
        </p:nvSpPr>
        <p:spPr bwMode="auto">
          <a:xfrm>
            <a:off x="4270597" y="2786857"/>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66" name="Freeform 236">
            <a:extLst>
              <a:ext uri="{FF2B5EF4-FFF2-40B4-BE49-F238E27FC236}">
                <a16:creationId xmlns:a16="http://schemas.microsoft.com/office/drawing/2014/main" xmlns="" id="{CCBC3F26-4677-4200-8DA9-6B2D3E935F41}"/>
              </a:ext>
            </a:extLst>
          </p:cNvPr>
          <p:cNvSpPr>
            <a:spLocks noChangeArrowheads="1"/>
          </p:cNvSpPr>
          <p:nvPr/>
        </p:nvSpPr>
        <p:spPr bwMode="auto">
          <a:xfrm>
            <a:off x="6413512" y="2860805"/>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67" name="Freeform 242">
            <a:extLst>
              <a:ext uri="{FF2B5EF4-FFF2-40B4-BE49-F238E27FC236}">
                <a16:creationId xmlns:a16="http://schemas.microsoft.com/office/drawing/2014/main" xmlns="" id="{C15DF3D8-689B-4F42-BE3A-9EA6C5BCDBA2}"/>
              </a:ext>
            </a:extLst>
          </p:cNvPr>
          <p:cNvSpPr>
            <a:spLocks noChangeArrowheads="1"/>
          </p:cNvSpPr>
          <p:nvPr/>
        </p:nvSpPr>
        <p:spPr bwMode="auto">
          <a:xfrm>
            <a:off x="7576463" y="2699872"/>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68" name="Freeform 245">
            <a:extLst>
              <a:ext uri="{FF2B5EF4-FFF2-40B4-BE49-F238E27FC236}">
                <a16:creationId xmlns:a16="http://schemas.microsoft.com/office/drawing/2014/main" xmlns="" id="{8EE60291-B51D-48BF-B8F6-169C5C6FF008}"/>
              </a:ext>
            </a:extLst>
          </p:cNvPr>
          <p:cNvSpPr>
            <a:spLocks noChangeArrowheads="1"/>
          </p:cNvSpPr>
          <p:nvPr/>
        </p:nvSpPr>
        <p:spPr bwMode="auto">
          <a:xfrm>
            <a:off x="8673106" y="2695546"/>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69" name="Left Arrow 33">
            <a:extLst>
              <a:ext uri="{FF2B5EF4-FFF2-40B4-BE49-F238E27FC236}">
                <a16:creationId xmlns:a16="http://schemas.microsoft.com/office/drawing/2014/main" xmlns="" id="{CA25C062-4462-4566-A3F9-B5DF68C0371F}"/>
              </a:ext>
            </a:extLst>
          </p:cNvPr>
          <p:cNvSpPr/>
          <p:nvPr/>
        </p:nvSpPr>
        <p:spPr>
          <a:xfrm>
            <a:off x="3962318" y="5922451"/>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0" name="Right Arrow 34">
            <a:extLst>
              <a:ext uri="{FF2B5EF4-FFF2-40B4-BE49-F238E27FC236}">
                <a16:creationId xmlns:a16="http://schemas.microsoft.com/office/drawing/2014/main" xmlns="" id="{3A3B4C79-AABD-4948-B4D5-E81A5ADA2D04}"/>
              </a:ext>
            </a:extLst>
          </p:cNvPr>
          <p:cNvSpPr/>
          <p:nvPr/>
        </p:nvSpPr>
        <p:spPr>
          <a:xfrm>
            <a:off x="7657778" y="5922451"/>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1">
            <a:extLst>
              <a:ext uri="{FF2B5EF4-FFF2-40B4-BE49-F238E27FC236}">
                <a16:creationId xmlns:a16="http://schemas.microsoft.com/office/drawing/2014/main" xmlns="" id="{ED81D0D8-B43D-4FCC-AFC1-ED8A8A6DF56D}"/>
              </a:ext>
            </a:extLst>
          </p:cNvPr>
          <p:cNvSpPr txBox="1">
            <a:spLocks/>
          </p:cNvSpPr>
          <p:nvPr/>
        </p:nvSpPr>
        <p:spPr>
          <a:xfrm>
            <a:off x="1491743" y="479129"/>
            <a:ext cx="6575307"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Restrukturierungskonzept</a:t>
            </a:r>
            <a:r>
              <a:rPr lang="en-GB" dirty="0"/>
              <a:t>: Analyse der </a:t>
            </a:r>
            <a:r>
              <a:rPr lang="en-GB" dirty="0" err="1"/>
              <a:t>Wertschöpfungskette</a:t>
            </a:r>
            <a:endParaRPr lang="en-GB" dirty="0"/>
          </a:p>
        </p:txBody>
      </p:sp>
    </p:spTree>
    <p:extLst>
      <p:ext uri="{BB962C8B-B14F-4D97-AF65-F5344CB8AC3E}">
        <p14:creationId xmlns:p14="http://schemas.microsoft.com/office/powerpoint/2010/main" val="3702684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as Sie in Modul 5 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64939" y="1211309"/>
            <a:ext cx="10729959" cy="5940088"/>
          </a:xfrm>
          <a:prstGeom prst="rect">
            <a:avLst/>
          </a:prstGeom>
          <a:noFill/>
        </p:spPr>
        <p:txBody>
          <a:bodyPr wrap="square">
            <a:spAutoFit/>
          </a:bodyPr>
          <a:lstStyle/>
          <a:p>
            <a:endParaRPr lang="en-GB" sz="2000" dirty="0">
              <a:solidFill>
                <a:schemeClr val="bg1"/>
              </a:solidFill>
            </a:endParaRPr>
          </a:p>
          <a:p>
            <a:r>
              <a:rPr lang="en-GB" sz="2000" b="1" dirty="0">
                <a:solidFill>
                  <a:schemeClr val="bg1"/>
                </a:solidFill>
                <a:latin typeface="+mj-lt"/>
                <a:ea typeface="Open Sans Light" panose="020B0306030504020204" pitchFamily="34" charset="0"/>
                <a:cs typeface="Open Sans Light" panose="020B0306030504020204" pitchFamily="34" charset="0"/>
              </a:rPr>
              <a:t>In Modul 5, Die strategische Seite der Restrukturierung, </a:t>
            </a:r>
            <a:r>
              <a:rPr lang="en-IE" sz="2000" dirty="0" err="1">
                <a:solidFill>
                  <a:schemeClr val="bg1"/>
                </a:solidFill>
              </a:rPr>
              <a:t>lernen</a:t>
            </a:r>
            <a:r>
              <a:rPr lang="en-IE" sz="2000" dirty="0">
                <a:solidFill>
                  <a:schemeClr val="bg1"/>
                </a:solidFill>
              </a:rPr>
              <a:t> Sie: </a:t>
            </a:r>
            <a:br>
              <a:rPr lang="en-IE" sz="2000" dirty="0">
                <a:solidFill>
                  <a:schemeClr val="bg1"/>
                </a:solidFill>
              </a:rPr>
            </a:br>
            <a:endParaRPr lang="en-IE" sz="2000" dirty="0">
              <a:solidFill>
                <a:schemeClr val="bg1"/>
              </a:solidFill>
            </a:endParaRPr>
          </a:p>
          <a:p>
            <a:pPr marL="342900" indent="-342900">
              <a:buFont typeface="Arial" panose="020B0604020202020204" pitchFamily="34" charset="0"/>
              <a:buChar char="•"/>
            </a:pPr>
            <a:r>
              <a:rPr lang="en-GB" sz="2000" b="1" u="sng" dirty="0">
                <a:solidFill>
                  <a:schemeClr val="bg1"/>
                </a:solidFill>
              </a:rPr>
              <a:t>Verstehen von Restrukturierungskonzepten </a:t>
            </a:r>
            <a:r>
              <a:rPr lang="en-GB" sz="2000" dirty="0">
                <a:solidFill>
                  <a:schemeClr val="bg1"/>
                </a:solidFill>
              </a:rPr>
              <a:t>in 4 Schlüsselbereichen des Unternehmens, die Bedeutung eines neuen Leitbildes und einer integrierten Unternehmensplanung</a:t>
            </a:r>
          </a:p>
          <a:p>
            <a:pPr marL="342900" indent="-342900">
              <a:buFont typeface="Arial" panose="020B0604020202020204" pitchFamily="34" charset="0"/>
              <a:buChar char="•"/>
            </a:pPr>
            <a:r>
              <a:rPr lang="en-GB" sz="2000" b="1" u="sng" dirty="0" err="1">
                <a:solidFill>
                  <a:schemeClr val="bg1"/>
                </a:solidFill>
              </a:rPr>
              <a:t>Reduzierung</a:t>
            </a:r>
            <a:r>
              <a:rPr lang="en-GB" sz="2000" b="1" u="sng" dirty="0">
                <a:solidFill>
                  <a:schemeClr val="bg1"/>
                </a:solidFill>
              </a:rPr>
              <a:t> der </a:t>
            </a:r>
            <a:r>
              <a:rPr lang="en-GB" sz="2000" b="1" u="sng" dirty="0" err="1">
                <a:solidFill>
                  <a:schemeClr val="bg1"/>
                </a:solidFill>
              </a:rPr>
              <a:t>Auswirkungen</a:t>
            </a:r>
            <a:r>
              <a:rPr lang="en-GB" sz="2000" b="1" u="sng" dirty="0">
                <a:solidFill>
                  <a:schemeClr val="bg1"/>
                </a:solidFill>
              </a:rPr>
              <a:t> </a:t>
            </a:r>
            <a:r>
              <a:rPr lang="en-GB" sz="2000" b="1" u="sng" dirty="0" err="1">
                <a:solidFill>
                  <a:schemeClr val="bg1"/>
                </a:solidFill>
              </a:rPr>
              <a:t>einer</a:t>
            </a:r>
            <a:r>
              <a:rPr lang="en-GB" sz="2000" b="1" u="sng" dirty="0">
                <a:solidFill>
                  <a:schemeClr val="bg1"/>
                </a:solidFill>
              </a:rPr>
              <a:t> </a:t>
            </a:r>
            <a:r>
              <a:rPr lang="en-GB" sz="2000" b="1" u="sng" dirty="0" err="1">
                <a:solidFill>
                  <a:schemeClr val="bg1"/>
                </a:solidFill>
              </a:rPr>
              <a:t>Krise</a:t>
            </a:r>
            <a:r>
              <a:rPr lang="en-GB" sz="2000" dirty="0">
                <a:solidFill>
                  <a:schemeClr val="bg1"/>
                </a:solidFill>
              </a:rPr>
              <a:t>, </a:t>
            </a:r>
            <a:r>
              <a:rPr lang="en-GB" sz="2000" dirty="0" err="1">
                <a:solidFill>
                  <a:schemeClr val="bg1"/>
                </a:solidFill>
              </a:rPr>
              <a:t>Maßnahmen</a:t>
            </a:r>
            <a:r>
              <a:rPr lang="en-GB" sz="2000" dirty="0">
                <a:solidFill>
                  <a:schemeClr val="bg1"/>
                </a:solidFill>
              </a:rPr>
              <a:t> und Toolbox zur Erkennung und Abschwächung von Krisen</a:t>
            </a:r>
          </a:p>
          <a:p>
            <a:pPr marL="342900" indent="-342900">
              <a:buFont typeface="Arial" panose="020B0604020202020204" pitchFamily="34" charset="0"/>
              <a:buChar char="•"/>
            </a:pPr>
            <a:r>
              <a:rPr lang="en-GB" sz="2000" b="1" u="sng" dirty="0" err="1">
                <a:solidFill>
                  <a:schemeClr val="bg1"/>
                </a:solidFill>
              </a:rPr>
              <a:t>Krisen</a:t>
            </a:r>
            <a:r>
              <a:rPr lang="en-GB" sz="2000" b="1" u="sng" dirty="0">
                <a:solidFill>
                  <a:schemeClr val="bg1"/>
                </a:solidFill>
              </a:rPr>
              <a:t>-Management</a:t>
            </a:r>
            <a:r>
              <a:rPr lang="en-GB" sz="2000" dirty="0">
                <a:solidFill>
                  <a:schemeClr val="bg1"/>
                </a:solidFill>
              </a:rPr>
              <a:t>, Basis-</a:t>
            </a:r>
            <a:r>
              <a:rPr lang="en-GB" sz="2000" dirty="0" err="1">
                <a:solidFill>
                  <a:schemeClr val="bg1"/>
                </a:solidFill>
              </a:rPr>
              <a:t>Maßnahmen</a:t>
            </a:r>
            <a:r>
              <a:rPr lang="en-GB" sz="2000" dirty="0">
                <a:solidFill>
                  <a:schemeClr val="bg1"/>
                </a:solidFill>
              </a:rPr>
              <a:t> zur Überwindung einer Liquiditätskrise, Working Capital Management und </a:t>
            </a:r>
            <a:r>
              <a:rPr lang="en-GB" sz="2000" dirty="0" err="1">
                <a:solidFill>
                  <a:schemeClr val="bg1"/>
                </a:solidFill>
              </a:rPr>
              <a:t>schnelle</a:t>
            </a:r>
            <a:r>
              <a:rPr lang="en-GB" sz="2000" dirty="0">
                <a:solidFill>
                  <a:schemeClr val="bg1"/>
                </a:solidFill>
              </a:rPr>
              <a:t> </a:t>
            </a:r>
            <a:r>
              <a:rPr lang="en-GB" sz="2000" dirty="0" err="1">
                <a:solidFill>
                  <a:schemeClr val="bg1"/>
                </a:solidFill>
              </a:rPr>
              <a:t>Maßnahmen</a:t>
            </a:r>
            <a:r>
              <a:rPr lang="en-GB" sz="2000" dirty="0">
                <a:solidFill>
                  <a:schemeClr val="bg1"/>
                </a:solidFill>
              </a:rPr>
              <a:t> </a:t>
            </a:r>
            <a:r>
              <a:rPr lang="en-GB" sz="2000" dirty="0" err="1">
                <a:solidFill>
                  <a:schemeClr val="bg1"/>
                </a:solidFill>
              </a:rPr>
              <a:t>für</a:t>
            </a:r>
            <a:r>
              <a:rPr lang="en-GB" sz="2000" dirty="0">
                <a:solidFill>
                  <a:schemeClr val="bg1"/>
                </a:solidFill>
              </a:rPr>
              <a:t> Marketing und Vertrieb, 14 Einsparungsideen für die Beschaffung, intelligente Kostenreduzierung und Produktion. </a:t>
            </a:r>
          </a:p>
          <a:p>
            <a:pPr marL="342900" indent="-342900">
              <a:buFont typeface="Arial" panose="020B0604020202020204" pitchFamily="34" charset="0"/>
              <a:buChar char="•"/>
            </a:pPr>
            <a:r>
              <a:rPr lang="en-GB" sz="2000" b="1" u="sng" dirty="0">
                <a:solidFill>
                  <a:schemeClr val="bg1"/>
                </a:solidFill>
              </a:rPr>
              <a:t>Verstehen von Möglichkeiten zur Überwindung von Krisen </a:t>
            </a:r>
            <a:r>
              <a:rPr lang="en-GB" sz="2000" dirty="0">
                <a:solidFill>
                  <a:schemeClr val="bg1"/>
                </a:solidFill>
              </a:rPr>
              <a:t>in verschiedenen Bereichen des Unternehmens, einschließlich 6 Möglichkeiten zur Überwindung einer </a:t>
            </a:r>
            <a:r>
              <a:rPr lang="en-GB" sz="2000" dirty="0" err="1">
                <a:solidFill>
                  <a:schemeClr val="bg1"/>
                </a:solidFill>
              </a:rPr>
              <a:t>saisonalen</a:t>
            </a:r>
            <a:r>
              <a:rPr lang="en-GB" sz="2000" dirty="0">
                <a:solidFill>
                  <a:schemeClr val="bg1"/>
                </a:solidFill>
              </a:rPr>
              <a:t> </a:t>
            </a:r>
            <a:br>
              <a:rPr lang="en-GB" sz="2000" dirty="0">
                <a:solidFill>
                  <a:schemeClr val="bg1"/>
                </a:solidFill>
              </a:rPr>
            </a:br>
            <a:r>
              <a:rPr lang="en-GB" sz="2000" dirty="0" err="1">
                <a:solidFill>
                  <a:schemeClr val="bg1"/>
                </a:solidFill>
              </a:rPr>
              <a:t>Umsatz</a:t>
            </a:r>
            <a:r>
              <a:rPr lang="en-GB" sz="2000" dirty="0">
                <a:solidFill>
                  <a:schemeClr val="bg1"/>
                </a:solidFill>
              </a:rPr>
              <a:t>- und Produktkrise, zur Überwindung einer Ertragskrise, zur </a:t>
            </a:r>
            <a:r>
              <a:rPr lang="en-GB" sz="2000" dirty="0" err="1">
                <a:solidFill>
                  <a:schemeClr val="bg1"/>
                </a:solidFill>
              </a:rPr>
              <a:t>Reduzierung</a:t>
            </a:r>
            <a:r>
              <a:rPr lang="en-GB" sz="2000" dirty="0">
                <a:solidFill>
                  <a:schemeClr val="bg1"/>
                </a:solidFill>
              </a:rPr>
              <a:t> </a:t>
            </a:r>
            <a:br>
              <a:rPr lang="en-GB" sz="2000" dirty="0">
                <a:solidFill>
                  <a:schemeClr val="bg1"/>
                </a:solidFill>
              </a:rPr>
            </a:br>
            <a:r>
              <a:rPr lang="en-GB" sz="2000" dirty="0">
                <a:solidFill>
                  <a:schemeClr val="bg1"/>
                </a:solidFill>
              </a:rPr>
              <a:t>von </a:t>
            </a:r>
            <a:r>
              <a:rPr lang="en-GB" sz="2000" dirty="0" err="1">
                <a:solidFill>
                  <a:schemeClr val="bg1"/>
                </a:solidFill>
              </a:rPr>
              <a:t>Ressourcen</a:t>
            </a:r>
            <a:r>
              <a:rPr lang="en-GB" sz="2000" dirty="0">
                <a:solidFill>
                  <a:schemeClr val="bg1"/>
                </a:solidFill>
              </a:rPr>
              <a:t> und 3 Ansätze zur Reduzierung von Personalkosten </a:t>
            </a:r>
          </a:p>
          <a:p>
            <a:pPr marL="342900" indent="-342900">
              <a:buFont typeface="Arial" panose="020B0604020202020204" pitchFamily="34" charset="0"/>
              <a:buChar char="•"/>
            </a:pPr>
            <a:r>
              <a:rPr lang="en-GB" sz="2000" b="1" dirty="0">
                <a:solidFill>
                  <a:schemeClr val="bg1"/>
                </a:solidFill>
              </a:rPr>
              <a:t>Neue Ansätze </a:t>
            </a:r>
            <a:r>
              <a:rPr lang="en-GB" sz="2000" b="1" dirty="0" err="1">
                <a:solidFill>
                  <a:schemeClr val="bg1"/>
                </a:solidFill>
              </a:rPr>
              <a:t>zur</a:t>
            </a:r>
            <a:r>
              <a:rPr lang="en-GB" sz="2000" b="1" dirty="0">
                <a:solidFill>
                  <a:schemeClr val="bg1"/>
                </a:solidFill>
              </a:rPr>
              <a:t> </a:t>
            </a:r>
            <a:r>
              <a:rPr lang="en-GB" sz="2000" b="1" u="sng" dirty="0" err="1">
                <a:solidFill>
                  <a:schemeClr val="bg1"/>
                </a:solidFill>
              </a:rPr>
              <a:t>Krisenbewältigungsstrategie</a:t>
            </a:r>
            <a:endParaRPr lang="en-GB" sz="2000" b="1" u="sng" dirty="0">
              <a:solidFill>
                <a:schemeClr val="bg1"/>
              </a:solidFill>
            </a:endParaRPr>
          </a:p>
          <a:p>
            <a:pPr marL="342900" indent="-342900">
              <a:buFont typeface="Arial" panose="020B0604020202020204" pitchFamily="34" charset="0"/>
              <a:buChar char="•"/>
            </a:pPr>
            <a:r>
              <a:rPr lang="en-GB" sz="2000" b="1" u="sng" dirty="0" err="1">
                <a:solidFill>
                  <a:schemeClr val="bg1"/>
                </a:solidFill>
              </a:rPr>
              <a:t>Methoden</a:t>
            </a:r>
            <a:r>
              <a:rPr lang="en-GB" sz="2000" b="1" u="sng" dirty="0">
                <a:solidFill>
                  <a:schemeClr val="bg1"/>
                </a:solidFill>
              </a:rPr>
              <a:t> der finanziellen Restrukturierung</a:t>
            </a:r>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219159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2645" y="2001594"/>
            <a:ext cx="3625236" cy="448358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Eine Branchenanalyse ist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eine Geschäftsfunktion, die von Geschäftsinhabern und anderen </a:t>
            </a:r>
            <a:r>
              <a:rPr lang="en-GB" sz="2200" dirty="0" err="1">
                <a:solidFill>
                  <a:srgbClr val="245473"/>
                </a:solidFill>
                <a:latin typeface="+mj-lt"/>
                <a:ea typeface="Open Sans Light" panose="020B0306030504020204" pitchFamily="34" charset="0"/>
                <a:cs typeface="Open Sans Light" panose="020B0306030504020204" pitchFamily="34" charset="0"/>
              </a:rPr>
              <a:t>Person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aufgestellt</a:t>
            </a:r>
            <a:r>
              <a:rPr lang="en-GB" sz="2200" dirty="0">
                <a:solidFill>
                  <a:srgbClr val="245473"/>
                </a:solidFill>
                <a:latin typeface="+mj-lt"/>
                <a:ea typeface="Open Sans Light" panose="020B0306030504020204" pitchFamily="34" charset="0"/>
                <a:cs typeface="Open Sans Light" panose="020B0306030504020204" pitchFamily="34" charset="0"/>
              </a:rPr>
              <a:t> wird, um das aktuelle Geschäftsumfeld zu bewerten. Diese Analyse hilft Unternehmen, verschiedene </a:t>
            </a:r>
            <a:r>
              <a:rPr lang="en-GB" sz="2200" dirty="0" err="1">
                <a:solidFill>
                  <a:srgbClr val="245473"/>
                </a:solidFill>
                <a:latin typeface="+mj-lt"/>
                <a:ea typeface="Open Sans Light" panose="020B0306030504020204" pitchFamily="34" charset="0"/>
                <a:cs typeface="Open Sans Light" panose="020B0306030504020204" pitchFamily="34" charset="0"/>
              </a:rPr>
              <a:t>wirtschaftlich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Aspekte</a:t>
            </a:r>
            <a:r>
              <a:rPr lang="en-GB" sz="2200" dirty="0">
                <a:solidFill>
                  <a:srgbClr val="245473"/>
                </a:solidFill>
                <a:latin typeface="+mj-lt"/>
                <a:ea typeface="Open Sans Light" panose="020B0306030504020204" pitchFamily="34" charset="0"/>
                <a:cs typeface="Open Sans Light" panose="020B0306030504020204" pitchFamily="34" charset="0"/>
              </a:rPr>
              <a:t> des Marktes zu verstehen und </a:t>
            </a:r>
            <a:r>
              <a:rPr lang="en-GB" sz="2200" dirty="0" err="1">
                <a:solidFill>
                  <a:srgbClr val="245473"/>
                </a:solidFill>
                <a:latin typeface="+mj-lt"/>
                <a:ea typeface="Open Sans Light" panose="020B0306030504020204" pitchFamily="34" charset="0"/>
                <a:cs typeface="Open Sans Light" panose="020B0306030504020204" pitchFamily="34" charset="0"/>
              </a:rPr>
              <a:t>dies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nutzbar</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zu</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machen</a:t>
            </a:r>
            <a:r>
              <a:rPr lang="en-GB" sz="2200" dirty="0">
                <a:solidFill>
                  <a:srgbClr val="245473"/>
                </a:solidFill>
                <a:latin typeface="+mj-lt"/>
                <a:ea typeface="Open Sans Light" panose="020B0306030504020204" pitchFamily="34" charset="0"/>
                <a:cs typeface="Open Sans Light" panose="020B0306030504020204" pitchFamily="34" charset="0"/>
              </a:rPr>
              <a:t>, um einen Wettbewerbsvorteil zu erlangen.</a:t>
            </a:r>
            <a:endParaRPr lang="en-US" dirty="0">
              <a:solidFill>
                <a:srgbClr val="245473"/>
              </a:solidFill>
            </a:endParaRPr>
          </a:p>
        </p:txBody>
      </p:sp>
      <p:grpSp>
        <p:nvGrpSpPr>
          <p:cNvPr id="3" name="Gruppieren 2">
            <a:extLst>
              <a:ext uri="{FF2B5EF4-FFF2-40B4-BE49-F238E27FC236}">
                <a16:creationId xmlns:a16="http://schemas.microsoft.com/office/drawing/2014/main" xmlns="" id="{9D1F3F19-52DA-468A-9944-1184B4CBAAB2}"/>
              </a:ext>
            </a:extLst>
          </p:cNvPr>
          <p:cNvGrpSpPr>
            <a:grpSpLocks noChangeAspect="1"/>
          </p:cNvGrpSpPr>
          <p:nvPr/>
        </p:nvGrpSpPr>
        <p:grpSpPr>
          <a:xfrm>
            <a:off x="4016325" y="2075965"/>
            <a:ext cx="6640089" cy="4193552"/>
            <a:chOff x="2185643" y="1469137"/>
            <a:chExt cx="8000107" cy="5052472"/>
          </a:xfrm>
        </p:grpSpPr>
        <p:pic>
          <p:nvPicPr>
            <p:cNvPr id="33" name="Grafik 32">
              <a:extLst>
                <a:ext uri="{FF2B5EF4-FFF2-40B4-BE49-F238E27FC236}">
                  <a16:creationId xmlns:a16="http://schemas.microsoft.com/office/drawing/2014/main" xmlns="" id="{E66801E6-618E-404B-B122-DB3B83B8B58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185643" y="1469137"/>
              <a:ext cx="7471051" cy="4866889"/>
            </a:xfrm>
            <a:prstGeom prst="rect">
              <a:avLst/>
            </a:prstGeom>
          </p:spPr>
        </p:pic>
        <p:sp>
          <p:nvSpPr>
            <p:cNvPr id="34" name="Ellipse 33">
              <a:extLst>
                <a:ext uri="{FF2B5EF4-FFF2-40B4-BE49-F238E27FC236}">
                  <a16:creationId xmlns:a16="http://schemas.microsoft.com/office/drawing/2014/main" xmlns="" id="{533EAD79-4029-44EE-922A-6DABD593C31C}"/>
                </a:ext>
              </a:extLst>
            </p:cNvPr>
            <p:cNvSpPr/>
            <p:nvPr/>
          </p:nvSpPr>
          <p:spPr>
            <a:xfrm>
              <a:off x="4134285" y="1844519"/>
              <a:ext cx="3924041" cy="3924041"/>
            </a:xfrm>
            <a:prstGeom prst="ellipse">
              <a:avLst/>
            </a:prstGeom>
            <a:solidFill>
              <a:srgbClr val="E53292">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000" b="1" kern="0" dirty="0">
                  <a:solidFill>
                    <a:schemeClr val="tx1"/>
                  </a:solidFill>
                  <a:highlight>
                    <a:srgbClr val="FFFF00"/>
                  </a:highlight>
                  <a:latin typeface="+mj-lt"/>
                  <a:cs typeface="Segoe UI Semibold" panose="020B0702040204020203" pitchFamily="34" charset="0"/>
                </a:rPr>
                <a:t>Industrie</a:t>
              </a:r>
              <a:br>
                <a:rPr lang="en-GB" sz="2000" b="1" kern="0" dirty="0">
                  <a:solidFill>
                    <a:schemeClr val="tx1"/>
                  </a:solidFill>
                  <a:highlight>
                    <a:srgbClr val="FFFF00"/>
                  </a:highlight>
                  <a:latin typeface="+mj-lt"/>
                  <a:cs typeface="Segoe UI Semibold" panose="020B0702040204020203" pitchFamily="34" charset="0"/>
                </a:rPr>
              </a:br>
              <a:r>
                <a:rPr lang="en-GB" sz="2000" b="1" kern="0" dirty="0" err="1">
                  <a:solidFill>
                    <a:schemeClr val="tx1"/>
                  </a:solidFill>
                  <a:highlight>
                    <a:srgbClr val="FFFF00"/>
                  </a:highlight>
                  <a:latin typeface="+mj-lt"/>
                  <a:cs typeface="Segoe UI Semibold" panose="020B0702040204020203" pitchFamily="34" charset="0"/>
                </a:rPr>
                <a:t>Umfeld</a:t>
              </a:r>
              <a:endParaRPr lang="en-GB" sz="2000" b="1" kern="0" dirty="0">
                <a:solidFill>
                  <a:schemeClr val="tx1"/>
                </a:solidFill>
                <a:highlight>
                  <a:srgbClr val="FFFF00"/>
                </a:highlight>
                <a:latin typeface="+mj-lt"/>
                <a:cs typeface="Segoe UI Semibold" panose="020B0702040204020203" pitchFamily="34" charset="0"/>
              </a:endParaRPr>
            </a:p>
          </p:txBody>
        </p:sp>
        <p:grpSp>
          <p:nvGrpSpPr>
            <p:cNvPr id="35" name="Gruppieren 34">
              <a:extLst>
                <a:ext uri="{FF2B5EF4-FFF2-40B4-BE49-F238E27FC236}">
                  <a16:creationId xmlns:a16="http://schemas.microsoft.com/office/drawing/2014/main" xmlns="" id="{6B0E5208-74D5-4F3A-8D3A-009BAFBB75E8}"/>
                </a:ext>
              </a:extLst>
            </p:cNvPr>
            <p:cNvGrpSpPr/>
            <p:nvPr/>
          </p:nvGrpSpPr>
          <p:grpSpPr>
            <a:xfrm>
              <a:off x="3604812" y="1568213"/>
              <a:ext cx="4982986" cy="4564244"/>
              <a:chOff x="2080812" y="1311038"/>
              <a:chExt cx="4982986" cy="4564244"/>
            </a:xfrm>
            <a:solidFill>
              <a:schemeClr val="tx2"/>
            </a:solidFill>
          </p:grpSpPr>
          <p:sp>
            <p:nvSpPr>
              <p:cNvPr id="36" name="Freeform 5">
                <a:extLst>
                  <a:ext uri="{FF2B5EF4-FFF2-40B4-BE49-F238E27FC236}">
                    <a16:creationId xmlns:a16="http://schemas.microsoft.com/office/drawing/2014/main" xmlns="" id="{807A4719-AF85-4899-B82C-06D7B9966148}"/>
                  </a:ext>
                </a:extLst>
              </p:cNvPr>
              <p:cNvSpPr>
                <a:spLocks/>
              </p:cNvSpPr>
              <p:nvPr/>
            </p:nvSpPr>
            <p:spPr bwMode="auto">
              <a:xfrm>
                <a:off x="2675219" y="1557338"/>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E5329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5">
                <a:extLst>
                  <a:ext uri="{FF2B5EF4-FFF2-40B4-BE49-F238E27FC236}">
                    <a16:creationId xmlns:a16="http://schemas.microsoft.com/office/drawing/2014/main" xmlns="" id="{BC7396F8-ADBF-4703-AA52-A8187B64A6DC}"/>
                  </a:ext>
                </a:extLst>
              </p:cNvPr>
              <p:cNvSpPr>
                <a:spLocks/>
              </p:cNvSpPr>
              <p:nvPr/>
            </p:nvSpPr>
            <p:spPr bwMode="auto">
              <a:xfrm rot="4320000">
                <a:off x="4598763" y="1557285"/>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2"/>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5">
                <a:extLst>
                  <a:ext uri="{FF2B5EF4-FFF2-40B4-BE49-F238E27FC236}">
                    <a16:creationId xmlns:a16="http://schemas.microsoft.com/office/drawing/2014/main" xmlns="" id="{F37ACACE-1898-4F7D-B313-1F182C16D25F}"/>
                  </a:ext>
                </a:extLst>
              </p:cNvPr>
              <p:cNvSpPr>
                <a:spLocks/>
              </p:cNvSpPr>
              <p:nvPr/>
            </p:nvSpPr>
            <p:spPr bwMode="auto">
              <a:xfrm rot="8640000">
                <a:off x="5196513" y="3368450"/>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chemeClr val="accent5"/>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5">
                <a:extLst>
                  <a:ext uri="{FF2B5EF4-FFF2-40B4-BE49-F238E27FC236}">
                    <a16:creationId xmlns:a16="http://schemas.microsoft.com/office/drawing/2014/main" xmlns="" id="{E5AE4E1B-EC16-4688-8067-1ACDA55D947D}"/>
                  </a:ext>
                </a:extLst>
              </p:cNvPr>
              <p:cNvSpPr>
                <a:spLocks/>
              </p:cNvSpPr>
              <p:nvPr/>
            </p:nvSpPr>
            <p:spPr bwMode="auto">
              <a:xfrm rot="12960000" flipH="1">
                <a:off x="2080812" y="336845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2060"/>
              </a:solidFill>
              <a:ln w="12700">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5">
                <a:extLst>
                  <a:ext uri="{FF2B5EF4-FFF2-40B4-BE49-F238E27FC236}">
                    <a16:creationId xmlns:a16="http://schemas.microsoft.com/office/drawing/2014/main" xmlns="" id="{93C601D5-2991-449C-B7E6-74059CD9EAA7}"/>
                  </a:ext>
                </a:extLst>
              </p:cNvPr>
              <p:cNvSpPr>
                <a:spLocks/>
              </p:cNvSpPr>
              <p:nvPr/>
            </p:nvSpPr>
            <p:spPr bwMode="auto">
              <a:xfrm rot="8640000" flipH="1">
                <a:off x="3631864" y="4500491"/>
                <a:ext cx="1867285" cy="1374791"/>
              </a:xfrm>
              <a:custGeom>
                <a:avLst/>
                <a:gdLst>
                  <a:gd name="T0" fmla="*/ 751 w 751"/>
                  <a:gd name="T1" fmla="*/ 25 h 552"/>
                  <a:gd name="T2" fmla="*/ 751 w 751"/>
                  <a:gd name="T3" fmla="*/ 0 h 552"/>
                  <a:gd name="T4" fmla="*/ 0 w 751"/>
                  <a:gd name="T5" fmla="*/ 544 h 552"/>
                  <a:gd name="T6" fmla="*/ 24 w 751"/>
                  <a:gd name="T7" fmla="*/ 552 h 552"/>
                  <a:gd name="T8" fmla="*/ 751 w 751"/>
                  <a:gd name="T9" fmla="*/ 25 h 552"/>
                </a:gdLst>
                <a:ahLst/>
                <a:cxnLst>
                  <a:cxn ang="0">
                    <a:pos x="T0" y="T1"/>
                  </a:cxn>
                  <a:cxn ang="0">
                    <a:pos x="T2" y="T3"/>
                  </a:cxn>
                  <a:cxn ang="0">
                    <a:pos x="T4" y="T5"/>
                  </a:cxn>
                  <a:cxn ang="0">
                    <a:pos x="T6" y="T7"/>
                  </a:cxn>
                  <a:cxn ang="0">
                    <a:pos x="T8" y="T9"/>
                  </a:cxn>
                </a:cxnLst>
                <a:rect l="0" t="0" r="r" b="b"/>
                <a:pathLst>
                  <a:path w="751" h="552">
                    <a:moveTo>
                      <a:pt x="751" y="25"/>
                    </a:moveTo>
                    <a:cubicBezTo>
                      <a:pt x="751" y="0"/>
                      <a:pt x="751" y="0"/>
                      <a:pt x="751" y="0"/>
                    </a:cubicBezTo>
                    <a:cubicBezTo>
                      <a:pt x="400" y="0"/>
                      <a:pt x="103" y="228"/>
                      <a:pt x="0" y="544"/>
                    </a:cubicBezTo>
                    <a:cubicBezTo>
                      <a:pt x="24" y="552"/>
                      <a:pt x="24" y="552"/>
                      <a:pt x="24" y="552"/>
                    </a:cubicBezTo>
                    <a:cubicBezTo>
                      <a:pt x="124" y="246"/>
                      <a:pt x="411" y="25"/>
                      <a:pt x="751" y="25"/>
                    </a:cubicBezTo>
                  </a:path>
                </a:pathLst>
              </a:custGeom>
              <a:solidFill>
                <a:srgbClr val="00B050"/>
              </a:solidFill>
              <a:ln w="12700">
                <a:noFill/>
              </a:ln>
            </p:spPr>
            <p:txBody>
              <a:bodyPr vert="horz" wrap="square" lIns="91440" tIns="45720" rIns="91440" bIns="45720" numCol="1" anchor="t" anchorCtr="0" compatLnSpc="1">
                <a:prstTxWarp prst="textNoShape">
                  <a:avLst/>
                </a:prstTxWarp>
              </a:bodyPr>
              <a:lstStyle/>
              <a:p>
                <a:endParaRPr lang="en-GB" dirty="0"/>
              </a:p>
            </p:txBody>
          </p:sp>
        </p:grpSp>
        <p:sp>
          <p:nvSpPr>
            <p:cNvPr id="41" name="Ellipse 40">
              <a:extLst>
                <a:ext uri="{FF2B5EF4-FFF2-40B4-BE49-F238E27FC236}">
                  <a16:creationId xmlns:a16="http://schemas.microsoft.com/office/drawing/2014/main" xmlns="" id="{AE97D648-F035-4FB2-99ED-6CFE89A9E720}"/>
                </a:ext>
              </a:extLst>
            </p:cNvPr>
            <p:cNvSpPr>
              <a:spLocks noChangeAspect="1"/>
            </p:cNvSpPr>
            <p:nvPr/>
          </p:nvSpPr>
          <p:spPr>
            <a:xfrm>
              <a:off x="5451559" y="4264480"/>
              <a:ext cx="1277170" cy="124636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1" name="Ellipse 70">
              <a:extLst>
                <a:ext uri="{FF2B5EF4-FFF2-40B4-BE49-F238E27FC236}">
                  <a16:creationId xmlns:a16="http://schemas.microsoft.com/office/drawing/2014/main" xmlns="" id="{72D27D13-26BE-47F9-9121-052A818473CC}"/>
                </a:ext>
              </a:extLst>
            </p:cNvPr>
            <p:cNvSpPr>
              <a:spLocks noChangeAspect="1"/>
            </p:cNvSpPr>
            <p:nvPr/>
          </p:nvSpPr>
          <p:spPr>
            <a:xfrm>
              <a:off x="6904183" y="3310335"/>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2" name="Ellipse 71">
              <a:extLst>
                <a:ext uri="{FF2B5EF4-FFF2-40B4-BE49-F238E27FC236}">
                  <a16:creationId xmlns:a16="http://schemas.microsoft.com/office/drawing/2014/main" xmlns="" id="{B0B17926-7179-480F-A939-39BB9FC09AF1}"/>
                </a:ext>
              </a:extLst>
            </p:cNvPr>
            <p:cNvSpPr>
              <a:spLocks noChangeAspect="1"/>
            </p:cNvSpPr>
            <p:nvPr/>
          </p:nvSpPr>
          <p:spPr>
            <a:xfrm>
              <a:off x="4203100" y="3310334"/>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3" name="Ellipse 72">
              <a:extLst>
                <a:ext uri="{FF2B5EF4-FFF2-40B4-BE49-F238E27FC236}">
                  <a16:creationId xmlns:a16="http://schemas.microsoft.com/office/drawing/2014/main" xmlns="" id="{58365737-92C3-4A54-A4F8-3DFC2755F71D}"/>
                </a:ext>
              </a:extLst>
            </p:cNvPr>
            <p:cNvSpPr>
              <a:spLocks noChangeAspect="1"/>
            </p:cNvSpPr>
            <p:nvPr/>
          </p:nvSpPr>
          <p:spPr>
            <a:xfrm>
              <a:off x="5556305" y="2036516"/>
              <a:ext cx="1080000" cy="10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err="1">
                <a:solidFill>
                  <a:schemeClr val="tx2"/>
                </a:solidFill>
              </a:endParaRPr>
            </a:p>
          </p:txBody>
        </p:sp>
        <p:sp>
          <p:nvSpPr>
            <p:cNvPr id="74" name="Textplatzhalter 3">
              <a:extLst>
                <a:ext uri="{FF2B5EF4-FFF2-40B4-BE49-F238E27FC236}">
                  <a16:creationId xmlns:a16="http://schemas.microsoft.com/office/drawing/2014/main" xmlns="" id="{B464F53D-2E31-4D47-B3D7-2BA57E2D20A6}"/>
                </a:ext>
              </a:extLst>
            </p:cNvPr>
            <p:cNvSpPr txBox="1">
              <a:spLocks/>
            </p:cNvSpPr>
            <p:nvPr/>
          </p:nvSpPr>
          <p:spPr>
            <a:xfrm>
              <a:off x="7495310" y="5771912"/>
              <a:ext cx="2690440" cy="357454"/>
            </a:xfrm>
            <a:prstGeom prst="rect">
              <a:avLst/>
            </a:prstGeom>
          </p:spPr>
          <p:txBody>
            <a:bodyPr lIns="0" tIns="0" rIns="0" bIns="0" anchor="b"/>
            <a:lstStyle>
              <a:defPPr>
                <a:defRPr lang="de-DE"/>
              </a:defPPr>
              <a:lvl1pPr indent="0" algn="ctr" fontAlgn="auto">
                <a:lnSpc>
                  <a:spcPts val="2000"/>
                </a:lnSpc>
                <a:spcBef>
                  <a:spcPts val="600"/>
                </a:spcBef>
                <a:spcAft>
                  <a:spcPts val="900"/>
                </a:spcAft>
                <a:buFontTx/>
                <a:buNone/>
                <a:defRPr sz="2000" b="0" kern="0" baseline="0">
                  <a:solidFill>
                    <a:schemeClr val="tx2"/>
                  </a:solidFill>
                  <a:latin typeface="+mj-lt"/>
                  <a:cs typeface="Segoe UI Semibold" panose="020B0702040204020203" pitchFamily="34" charset="0"/>
                </a:defRPr>
              </a:lvl1pPr>
              <a:lvl2pPr marL="216000" indent="-216000">
                <a:lnSpc>
                  <a:spcPts val="2000"/>
                </a:lnSpc>
                <a:spcBef>
                  <a:spcPts val="0"/>
                </a:spcBef>
                <a:spcAft>
                  <a:spcPts val="900"/>
                </a:spcAft>
                <a:buFontTx/>
                <a:buChar char="–"/>
                <a:defRPr sz="1600" b="0"/>
              </a:lvl2pPr>
              <a:lvl3pPr marL="450000" indent="-234000">
                <a:lnSpc>
                  <a:spcPts val="2000"/>
                </a:lnSpc>
                <a:spcBef>
                  <a:spcPts val="0"/>
                </a:spcBef>
                <a:spcAft>
                  <a:spcPts val="900"/>
                </a:spcAft>
                <a:buFontTx/>
                <a:buChar char="–"/>
                <a:defRPr sz="1600" b="0"/>
              </a:lvl3pPr>
              <a:lvl4pPr marL="637200" indent="-180000">
                <a:lnSpc>
                  <a:spcPts val="1600"/>
                </a:lnSpc>
                <a:spcBef>
                  <a:spcPts val="0"/>
                </a:spcBef>
                <a:spcAft>
                  <a:spcPts val="900"/>
                </a:spcAft>
                <a:buFontTx/>
                <a:buChar char="–"/>
                <a:defRPr sz="1200" b="0"/>
              </a:lvl4pPr>
              <a:lvl5pPr marL="810000" indent="-172800">
                <a:lnSpc>
                  <a:spcPts val="1600"/>
                </a:lnSpc>
                <a:spcBef>
                  <a:spcPts val="0"/>
                </a:spcBef>
                <a:spcAft>
                  <a:spcPts val="900"/>
                </a:spcAft>
                <a:buFontTx/>
                <a:buChar char="–"/>
                <a:defRPr sz="1200" b="0"/>
              </a:lvl5pPr>
              <a:lvl6pPr marL="1081088" indent="0">
                <a:buFont typeface="Wingdings" pitchFamily="2" charset="2"/>
                <a:buNone/>
                <a:tabLst/>
                <a:defRPr sz="1600"/>
              </a:lvl6pPr>
            </a:lstStyle>
            <a:p>
              <a:r>
                <a:rPr lang="en-GB" b="1" dirty="0">
                  <a:solidFill>
                    <a:schemeClr val="tx1"/>
                  </a:solidFill>
                  <a:highlight>
                    <a:srgbClr val="FFFF00"/>
                  </a:highlight>
                </a:rPr>
                <a:t>Makro-Umgebung</a:t>
              </a:r>
            </a:p>
          </p:txBody>
        </p:sp>
        <p:sp>
          <p:nvSpPr>
            <p:cNvPr id="75" name="Oval 7">
              <a:extLst>
                <a:ext uri="{FF2B5EF4-FFF2-40B4-BE49-F238E27FC236}">
                  <a16:creationId xmlns:a16="http://schemas.microsoft.com/office/drawing/2014/main" xmlns="" id="{3DE78889-CCA9-48E2-837A-4BD22A427863}"/>
                </a:ext>
              </a:extLst>
            </p:cNvPr>
            <p:cNvSpPr>
              <a:spLocks noChangeArrowheads="1"/>
            </p:cNvSpPr>
            <p:nvPr>
              <p:custDataLst>
                <p:tags r:id="rId1"/>
              </p:custDataLst>
            </p:nvPr>
          </p:nvSpPr>
          <p:spPr bwMode="auto">
            <a:xfrm>
              <a:off x="5520305" y="2618307"/>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err="1">
                  <a:solidFill>
                    <a:schemeClr val="bg1"/>
                  </a:solidFill>
                </a:rPr>
                <a:t>Kunden</a:t>
              </a:r>
              <a:endParaRPr lang="en-GB" sz="1200" dirty="0">
                <a:solidFill>
                  <a:schemeClr val="bg1"/>
                </a:solidFill>
              </a:endParaRPr>
            </a:p>
          </p:txBody>
        </p:sp>
        <p:sp>
          <p:nvSpPr>
            <p:cNvPr id="76" name="Oval 7">
              <a:extLst>
                <a:ext uri="{FF2B5EF4-FFF2-40B4-BE49-F238E27FC236}">
                  <a16:creationId xmlns:a16="http://schemas.microsoft.com/office/drawing/2014/main" xmlns="" id="{6912E464-D505-41F6-8324-1E5626713A3A}"/>
                </a:ext>
              </a:extLst>
            </p:cNvPr>
            <p:cNvSpPr>
              <a:spLocks noChangeArrowheads="1"/>
            </p:cNvSpPr>
            <p:nvPr>
              <p:custDataLst>
                <p:tags r:id="rId2"/>
              </p:custDataLst>
            </p:nvPr>
          </p:nvSpPr>
          <p:spPr bwMode="auto">
            <a:xfrm>
              <a:off x="4167100"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Wettbewerber</a:t>
              </a:r>
            </a:p>
          </p:txBody>
        </p:sp>
        <p:sp>
          <p:nvSpPr>
            <p:cNvPr id="77" name="Oval 7">
              <a:extLst>
                <a:ext uri="{FF2B5EF4-FFF2-40B4-BE49-F238E27FC236}">
                  <a16:creationId xmlns:a16="http://schemas.microsoft.com/office/drawing/2014/main" xmlns="" id="{AD4E4DB6-5ED1-4EDD-B81C-5C8DD9AFDA60}"/>
                </a:ext>
              </a:extLst>
            </p:cNvPr>
            <p:cNvSpPr>
              <a:spLocks noChangeArrowheads="1"/>
            </p:cNvSpPr>
            <p:nvPr>
              <p:custDataLst>
                <p:tags r:id="rId3"/>
              </p:custDataLst>
            </p:nvPr>
          </p:nvSpPr>
          <p:spPr bwMode="auto">
            <a:xfrm>
              <a:off x="5520305" y="4530616"/>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a:solidFill>
                    <a:schemeClr val="bg1"/>
                  </a:solidFill>
                </a:rPr>
                <a:t>Substitute</a:t>
              </a:r>
            </a:p>
          </p:txBody>
        </p:sp>
        <p:sp>
          <p:nvSpPr>
            <p:cNvPr id="78" name="Oval 7">
              <a:extLst>
                <a:ext uri="{FF2B5EF4-FFF2-40B4-BE49-F238E27FC236}">
                  <a16:creationId xmlns:a16="http://schemas.microsoft.com/office/drawing/2014/main" xmlns="" id="{0ACFBFE9-916E-4EBE-9FC9-6C37447075D2}"/>
                </a:ext>
              </a:extLst>
            </p:cNvPr>
            <p:cNvSpPr>
              <a:spLocks noChangeArrowheads="1"/>
            </p:cNvSpPr>
            <p:nvPr>
              <p:custDataLst>
                <p:tags r:id="rId4"/>
              </p:custDataLst>
            </p:nvPr>
          </p:nvSpPr>
          <p:spPr bwMode="auto">
            <a:xfrm>
              <a:off x="6868183" y="3493802"/>
              <a:ext cx="1152000" cy="377313"/>
            </a:xfrm>
            <a:prstGeom prst="rect">
              <a:avLst/>
            </a:prstGeom>
            <a:noFill/>
            <a:ln w="508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GB" sz="1200" dirty="0" err="1">
                  <a:solidFill>
                    <a:schemeClr val="bg1"/>
                  </a:solidFill>
                </a:rPr>
                <a:t>Lieferanten</a:t>
              </a:r>
              <a:endParaRPr lang="en-GB" sz="1200" dirty="0">
                <a:solidFill>
                  <a:schemeClr val="bg1"/>
                </a:solidFill>
              </a:endParaRPr>
            </a:p>
          </p:txBody>
        </p:sp>
        <p:sp>
          <p:nvSpPr>
            <p:cNvPr id="79" name="Freeform 5">
              <a:extLst>
                <a:ext uri="{FF2B5EF4-FFF2-40B4-BE49-F238E27FC236}">
                  <a16:creationId xmlns:a16="http://schemas.microsoft.com/office/drawing/2014/main" xmlns="" id="{382B2653-190A-4664-8003-64092FEBB302}"/>
                </a:ext>
              </a:extLst>
            </p:cNvPr>
            <p:cNvSpPr>
              <a:spLocks noChangeAspect="1" noEditPoints="1"/>
            </p:cNvSpPr>
            <p:nvPr/>
          </p:nvSpPr>
          <p:spPr bwMode="auto">
            <a:xfrm>
              <a:off x="7223708" y="3932230"/>
              <a:ext cx="511812" cy="232893"/>
            </a:xfrm>
            <a:custGeom>
              <a:avLst/>
              <a:gdLst>
                <a:gd name="T0" fmla="*/ 1192 w 1489"/>
                <a:gd name="T1" fmla="*/ 588 h 676"/>
                <a:gd name="T2" fmla="*/ 1279 w 1489"/>
                <a:gd name="T3" fmla="*/ 676 h 676"/>
                <a:gd name="T4" fmla="*/ 1367 w 1489"/>
                <a:gd name="T5" fmla="*/ 588 h 676"/>
                <a:gd name="T6" fmla="*/ 1279 w 1489"/>
                <a:gd name="T7" fmla="*/ 501 h 676"/>
                <a:gd name="T8" fmla="*/ 1192 w 1489"/>
                <a:gd name="T9" fmla="*/ 588 h 676"/>
                <a:gd name="T10" fmla="*/ 957 w 1489"/>
                <a:gd name="T11" fmla="*/ 588 h 676"/>
                <a:gd name="T12" fmla="*/ 1045 w 1489"/>
                <a:gd name="T13" fmla="*/ 676 h 676"/>
                <a:gd name="T14" fmla="*/ 1133 w 1489"/>
                <a:gd name="T15" fmla="*/ 588 h 676"/>
                <a:gd name="T16" fmla="*/ 1045 w 1489"/>
                <a:gd name="T17" fmla="*/ 501 h 676"/>
                <a:gd name="T18" fmla="*/ 957 w 1489"/>
                <a:gd name="T19" fmla="*/ 588 h 676"/>
                <a:gd name="T20" fmla="*/ 341 w 1489"/>
                <a:gd name="T21" fmla="*/ 588 h 676"/>
                <a:gd name="T22" fmla="*/ 429 w 1489"/>
                <a:gd name="T23" fmla="*/ 676 h 676"/>
                <a:gd name="T24" fmla="*/ 517 w 1489"/>
                <a:gd name="T25" fmla="*/ 588 h 676"/>
                <a:gd name="T26" fmla="*/ 429 w 1489"/>
                <a:gd name="T27" fmla="*/ 501 h 676"/>
                <a:gd name="T28" fmla="*/ 341 w 1489"/>
                <a:gd name="T29" fmla="*/ 588 h 676"/>
                <a:gd name="T30" fmla="*/ 107 w 1489"/>
                <a:gd name="T31" fmla="*/ 588 h 676"/>
                <a:gd name="T32" fmla="*/ 195 w 1489"/>
                <a:gd name="T33" fmla="*/ 676 h 676"/>
                <a:gd name="T34" fmla="*/ 282 w 1489"/>
                <a:gd name="T35" fmla="*/ 588 h 676"/>
                <a:gd name="T36" fmla="*/ 195 w 1489"/>
                <a:gd name="T37" fmla="*/ 501 h 676"/>
                <a:gd name="T38" fmla="*/ 107 w 1489"/>
                <a:gd name="T39" fmla="*/ 588 h 676"/>
                <a:gd name="T40" fmla="*/ 0 w 1489"/>
                <a:gd name="T41" fmla="*/ 432 h 676"/>
                <a:gd name="T42" fmla="*/ 1130 w 1489"/>
                <a:gd name="T43" fmla="*/ 432 h 676"/>
                <a:gd name="T44" fmla="*/ 1130 w 1489"/>
                <a:gd name="T45" fmla="*/ 0 h 676"/>
                <a:gd name="T46" fmla="*/ 0 w 1489"/>
                <a:gd name="T47" fmla="*/ 0 h 676"/>
                <a:gd name="T48" fmla="*/ 0 w 1489"/>
                <a:gd name="T49" fmla="*/ 432 h 676"/>
                <a:gd name="T50" fmla="*/ 1489 w 1489"/>
                <a:gd name="T51" fmla="*/ 535 h 676"/>
                <a:gd name="T52" fmla="*/ 1489 w 1489"/>
                <a:gd name="T53" fmla="*/ 247 h 676"/>
                <a:gd name="T54" fmla="*/ 1441 w 1489"/>
                <a:gd name="T55" fmla="*/ 197 h 676"/>
                <a:gd name="T56" fmla="*/ 1153 w 1489"/>
                <a:gd name="T57" fmla="*/ 125 h 676"/>
                <a:gd name="T58" fmla="*/ 1153 w 1489"/>
                <a:gd name="T59" fmla="*/ 454 h 676"/>
                <a:gd name="T60" fmla="*/ 49 w 1489"/>
                <a:gd name="T61" fmla="*/ 454 h 676"/>
                <a:gd name="T62" fmla="*/ 49 w 1489"/>
                <a:gd name="T63" fmla="*/ 579 h 676"/>
                <a:gd name="T64" fmla="*/ 89 w 1489"/>
                <a:gd name="T65" fmla="*/ 579 h 676"/>
                <a:gd name="T66" fmla="*/ 195 w 1489"/>
                <a:gd name="T67" fmla="*/ 482 h 676"/>
                <a:gd name="T68" fmla="*/ 300 w 1489"/>
                <a:gd name="T69" fmla="*/ 579 h 676"/>
                <a:gd name="T70" fmla="*/ 324 w 1489"/>
                <a:gd name="T71" fmla="*/ 579 h 676"/>
                <a:gd name="T72" fmla="*/ 429 w 1489"/>
                <a:gd name="T73" fmla="*/ 482 h 676"/>
                <a:gd name="T74" fmla="*/ 534 w 1489"/>
                <a:gd name="T75" fmla="*/ 579 h 676"/>
                <a:gd name="T76" fmla="*/ 940 w 1489"/>
                <a:gd name="T77" fmla="*/ 579 h 676"/>
                <a:gd name="T78" fmla="*/ 1045 w 1489"/>
                <a:gd name="T79" fmla="*/ 482 h 676"/>
                <a:gd name="T80" fmla="*/ 1151 w 1489"/>
                <a:gd name="T81" fmla="*/ 579 h 676"/>
                <a:gd name="T82" fmla="*/ 1174 w 1489"/>
                <a:gd name="T83" fmla="*/ 579 h 676"/>
                <a:gd name="T84" fmla="*/ 1279 w 1489"/>
                <a:gd name="T85" fmla="*/ 482 h 676"/>
                <a:gd name="T86" fmla="*/ 1385 w 1489"/>
                <a:gd name="T87" fmla="*/ 579 h 676"/>
                <a:gd name="T88" fmla="*/ 1441 w 1489"/>
                <a:gd name="T89" fmla="*/ 579 h 676"/>
                <a:gd name="T90" fmla="*/ 1489 w 1489"/>
                <a:gd name="T91" fmla="*/ 535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9" h="676">
                  <a:moveTo>
                    <a:pt x="1192" y="588"/>
                  </a:moveTo>
                  <a:cubicBezTo>
                    <a:pt x="1192" y="637"/>
                    <a:pt x="1231" y="676"/>
                    <a:pt x="1279" y="676"/>
                  </a:cubicBezTo>
                  <a:cubicBezTo>
                    <a:pt x="1328" y="676"/>
                    <a:pt x="1367" y="637"/>
                    <a:pt x="1367" y="588"/>
                  </a:cubicBezTo>
                  <a:cubicBezTo>
                    <a:pt x="1367" y="540"/>
                    <a:pt x="1328" y="501"/>
                    <a:pt x="1279" y="501"/>
                  </a:cubicBezTo>
                  <a:cubicBezTo>
                    <a:pt x="1231" y="501"/>
                    <a:pt x="1192" y="540"/>
                    <a:pt x="1192" y="588"/>
                  </a:cubicBezTo>
                  <a:moveTo>
                    <a:pt x="957" y="588"/>
                  </a:moveTo>
                  <a:cubicBezTo>
                    <a:pt x="957" y="637"/>
                    <a:pt x="997" y="676"/>
                    <a:pt x="1045" y="676"/>
                  </a:cubicBezTo>
                  <a:cubicBezTo>
                    <a:pt x="1093" y="676"/>
                    <a:pt x="1133" y="637"/>
                    <a:pt x="1133" y="588"/>
                  </a:cubicBezTo>
                  <a:cubicBezTo>
                    <a:pt x="1133" y="540"/>
                    <a:pt x="1093" y="501"/>
                    <a:pt x="1045" y="501"/>
                  </a:cubicBezTo>
                  <a:cubicBezTo>
                    <a:pt x="997" y="501"/>
                    <a:pt x="957" y="540"/>
                    <a:pt x="957" y="588"/>
                  </a:cubicBezTo>
                  <a:moveTo>
                    <a:pt x="341" y="588"/>
                  </a:moveTo>
                  <a:cubicBezTo>
                    <a:pt x="341" y="637"/>
                    <a:pt x="381" y="676"/>
                    <a:pt x="429" y="676"/>
                  </a:cubicBezTo>
                  <a:cubicBezTo>
                    <a:pt x="477" y="676"/>
                    <a:pt x="517" y="637"/>
                    <a:pt x="517" y="588"/>
                  </a:cubicBezTo>
                  <a:cubicBezTo>
                    <a:pt x="517" y="540"/>
                    <a:pt x="477" y="501"/>
                    <a:pt x="429" y="501"/>
                  </a:cubicBezTo>
                  <a:cubicBezTo>
                    <a:pt x="381" y="501"/>
                    <a:pt x="341" y="540"/>
                    <a:pt x="341" y="588"/>
                  </a:cubicBezTo>
                  <a:moveTo>
                    <a:pt x="107" y="588"/>
                  </a:moveTo>
                  <a:cubicBezTo>
                    <a:pt x="107" y="637"/>
                    <a:pt x="146" y="676"/>
                    <a:pt x="195" y="676"/>
                  </a:cubicBezTo>
                  <a:cubicBezTo>
                    <a:pt x="243" y="676"/>
                    <a:pt x="282" y="637"/>
                    <a:pt x="282" y="588"/>
                  </a:cubicBezTo>
                  <a:cubicBezTo>
                    <a:pt x="282" y="540"/>
                    <a:pt x="243" y="501"/>
                    <a:pt x="195" y="501"/>
                  </a:cubicBezTo>
                  <a:cubicBezTo>
                    <a:pt x="146" y="501"/>
                    <a:pt x="107" y="540"/>
                    <a:pt x="107" y="588"/>
                  </a:cubicBezTo>
                  <a:moveTo>
                    <a:pt x="0" y="432"/>
                  </a:moveTo>
                  <a:cubicBezTo>
                    <a:pt x="1130" y="432"/>
                    <a:pt x="1130" y="432"/>
                    <a:pt x="1130" y="432"/>
                  </a:cubicBezTo>
                  <a:cubicBezTo>
                    <a:pt x="1130" y="0"/>
                    <a:pt x="1130" y="0"/>
                    <a:pt x="1130" y="0"/>
                  </a:cubicBezTo>
                  <a:cubicBezTo>
                    <a:pt x="0" y="0"/>
                    <a:pt x="0" y="0"/>
                    <a:pt x="0" y="0"/>
                  </a:cubicBezTo>
                  <a:lnTo>
                    <a:pt x="0" y="432"/>
                  </a:lnTo>
                  <a:close/>
                  <a:moveTo>
                    <a:pt x="1489" y="535"/>
                  </a:moveTo>
                  <a:cubicBezTo>
                    <a:pt x="1489" y="247"/>
                    <a:pt x="1489" y="247"/>
                    <a:pt x="1489" y="247"/>
                  </a:cubicBezTo>
                  <a:cubicBezTo>
                    <a:pt x="1489" y="247"/>
                    <a:pt x="1489" y="203"/>
                    <a:pt x="1441" y="197"/>
                  </a:cubicBezTo>
                  <a:cubicBezTo>
                    <a:pt x="1153" y="125"/>
                    <a:pt x="1153" y="125"/>
                    <a:pt x="1153" y="125"/>
                  </a:cubicBezTo>
                  <a:cubicBezTo>
                    <a:pt x="1153" y="454"/>
                    <a:pt x="1153" y="454"/>
                    <a:pt x="1153" y="454"/>
                  </a:cubicBezTo>
                  <a:cubicBezTo>
                    <a:pt x="49" y="454"/>
                    <a:pt x="49" y="454"/>
                    <a:pt x="49" y="454"/>
                  </a:cubicBezTo>
                  <a:cubicBezTo>
                    <a:pt x="49" y="579"/>
                    <a:pt x="49" y="579"/>
                    <a:pt x="49" y="579"/>
                  </a:cubicBezTo>
                  <a:cubicBezTo>
                    <a:pt x="89" y="579"/>
                    <a:pt x="89" y="579"/>
                    <a:pt x="89" y="579"/>
                  </a:cubicBezTo>
                  <a:cubicBezTo>
                    <a:pt x="94" y="525"/>
                    <a:pt x="139" y="482"/>
                    <a:pt x="195" y="482"/>
                  </a:cubicBezTo>
                  <a:cubicBezTo>
                    <a:pt x="250" y="482"/>
                    <a:pt x="295" y="525"/>
                    <a:pt x="300" y="579"/>
                  </a:cubicBezTo>
                  <a:cubicBezTo>
                    <a:pt x="324" y="579"/>
                    <a:pt x="324" y="579"/>
                    <a:pt x="324" y="579"/>
                  </a:cubicBezTo>
                  <a:cubicBezTo>
                    <a:pt x="328" y="525"/>
                    <a:pt x="374" y="482"/>
                    <a:pt x="429" y="482"/>
                  </a:cubicBezTo>
                  <a:cubicBezTo>
                    <a:pt x="484" y="482"/>
                    <a:pt x="530" y="525"/>
                    <a:pt x="534" y="579"/>
                  </a:cubicBezTo>
                  <a:cubicBezTo>
                    <a:pt x="940" y="579"/>
                    <a:pt x="940" y="579"/>
                    <a:pt x="940" y="579"/>
                  </a:cubicBezTo>
                  <a:cubicBezTo>
                    <a:pt x="944" y="525"/>
                    <a:pt x="990" y="482"/>
                    <a:pt x="1045" y="482"/>
                  </a:cubicBezTo>
                  <a:cubicBezTo>
                    <a:pt x="1100" y="482"/>
                    <a:pt x="1146" y="525"/>
                    <a:pt x="1151" y="579"/>
                  </a:cubicBezTo>
                  <a:cubicBezTo>
                    <a:pt x="1174" y="579"/>
                    <a:pt x="1174" y="579"/>
                    <a:pt x="1174" y="579"/>
                  </a:cubicBezTo>
                  <a:cubicBezTo>
                    <a:pt x="1179" y="525"/>
                    <a:pt x="1224" y="482"/>
                    <a:pt x="1279" y="482"/>
                  </a:cubicBezTo>
                  <a:cubicBezTo>
                    <a:pt x="1335" y="482"/>
                    <a:pt x="1380" y="525"/>
                    <a:pt x="1385" y="579"/>
                  </a:cubicBezTo>
                  <a:cubicBezTo>
                    <a:pt x="1441" y="579"/>
                    <a:pt x="1441" y="579"/>
                    <a:pt x="1441" y="579"/>
                  </a:cubicBezTo>
                  <a:cubicBezTo>
                    <a:pt x="1441" y="579"/>
                    <a:pt x="1489" y="579"/>
                    <a:pt x="1489" y="5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sp>
          <p:nvSpPr>
            <p:cNvPr id="80" name="Freeform 5">
              <a:extLst>
                <a:ext uri="{FF2B5EF4-FFF2-40B4-BE49-F238E27FC236}">
                  <a16:creationId xmlns:a16="http://schemas.microsoft.com/office/drawing/2014/main" xmlns="" id="{94D758C5-5F1D-4FD5-A619-9BF1B621C1C2}"/>
                </a:ext>
              </a:extLst>
            </p:cNvPr>
            <p:cNvSpPr>
              <a:spLocks noChangeAspect="1" noEditPoints="1"/>
            </p:cNvSpPr>
            <p:nvPr/>
          </p:nvSpPr>
          <p:spPr bwMode="auto">
            <a:xfrm>
              <a:off x="4511143" y="3840432"/>
              <a:ext cx="406764" cy="346534"/>
            </a:xfrm>
            <a:custGeom>
              <a:avLst/>
              <a:gdLst>
                <a:gd name="T0" fmla="*/ 2788 w 3782"/>
                <a:gd name="T1" fmla="*/ 2794 h 3222"/>
                <a:gd name="T2" fmla="*/ 2817 w 3782"/>
                <a:gd name="T3" fmla="*/ 3222 h 3222"/>
                <a:gd name="T4" fmla="*/ 2817 w 3782"/>
                <a:gd name="T5" fmla="*/ 2794 h 3222"/>
                <a:gd name="T6" fmla="*/ 2175 w 3782"/>
                <a:gd name="T7" fmla="*/ 3222 h 3222"/>
                <a:gd name="T8" fmla="*/ 3037 w 3782"/>
                <a:gd name="T9" fmla="*/ 2756 h 3222"/>
                <a:gd name="T10" fmla="*/ 3408 w 3782"/>
                <a:gd name="T11" fmla="*/ 2093 h 3222"/>
                <a:gd name="T12" fmla="*/ 2132 w 3782"/>
                <a:gd name="T13" fmla="*/ 3222 h 3222"/>
                <a:gd name="T14" fmla="*/ 0 w 3782"/>
                <a:gd name="T15" fmla="*/ 3222 h 3222"/>
                <a:gd name="T16" fmla="*/ 2130 w 3782"/>
                <a:gd name="T17" fmla="*/ 1823 h 3222"/>
                <a:gd name="T18" fmla="*/ 2175 w 3782"/>
                <a:gd name="T19" fmla="*/ 2055 h 3222"/>
                <a:gd name="T20" fmla="*/ 2175 w 3782"/>
                <a:gd name="T21" fmla="*/ 1690 h 3222"/>
                <a:gd name="T22" fmla="*/ 2779 w 3782"/>
                <a:gd name="T23" fmla="*/ 2055 h 3222"/>
                <a:gd name="T24" fmla="*/ 2495 w 3782"/>
                <a:gd name="T25" fmla="*/ 2055 h 3222"/>
                <a:gd name="T26" fmla="*/ 3117 w 3782"/>
                <a:gd name="T27" fmla="*/ 1690 h 3222"/>
                <a:gd name="T28" fmla="*/ 3150 w 3782"/>
                <a:gd name="T29" fmla="*/ 2055 h 3222"/>
                <a:gd name="T30" fmla="*/ 3150 w 3782"/>
                <a:gd name="T31" fmla="*/ 1690 h 3222"/>
                <a:gd name="T32" fmla="*/ 2461 w 3782"/>
                <a:gd name="T33" fmla="*/ 1652 h 3222"/>
                <a:gd name="T34" fmla="*/ 2175 w 3782"/>
                <a:gd name="T35" fmla="*/ 1652 h 3222"/>
                <a:gd name="T36" fmla="*/ 2779 w 3782"/>
                <a:gd name="T37" fmla="*/ 1257 h 3222"/>
                <a:gd name="T38" fmla="*/ 2809 w 3782"/>
                <a:gd name="T39" fmla="*/ 1652 h 3222"/>
                <a:gd name="T40" fmla="*/ 2809 w 3782"/>
                <a:gd name="T41" fmla="*/ 1257 h 3222"/>
                <a:gd name="T42" fmla="*/ 3408 w 3782"/>
                <a:gd name="T43" fmla="*/ 1652 h 3222"/>
                <a:gd name="T44" fmla="*/ 3150 w 3782"/>
                <a:gd name="T45" fmla="*/ 1652 h 3222"/>
                <a:gd name="T46" fmla="*/ 2461 w 3782"/>
                <a:gd name="T47" fmla="*/ 840 h 3222"/>
                <a:gd name="T48" fmla="*/ 2495 w 3782"/>
                <a:gd name="T49" fmla="*/ 1226 h 3222"/>
                <a:gd name="T50" fmla="*/ 2495 w 3782"/>
                <a:gd name="T51" fmla="*/ 840 h 3222"/>
                <a:gd name="T52" fmla="*/ 2809 w 3782"/>
                <a:gd name="T53" fmla="*/ 1226 h 3222"/>
                <a:gd name="T54" fmla="*/ 2809 w 3782"/>
                <a:gd name="T55" fmla="*/ 840 h 3222"/>
                <a:gd name="T56" fmla="*/ 3408 w 3782"/>
                <a:gd name="T57" fmla="*/ 840 h 3222"/>
                <a:gd name="T58" fmla="*/ 2175 w 3782"/>
                <a:gd name="T59" fmla="*/ 809 h 3222"/>
                <a:gd name="T60" fmla="*/ 2175 w 3782"/>
                <a:gd name="T61" fmla="*/ 445 h 3222"/>
                <a:gd name="T62" fmla="*/ 2779 w 3782"/>
                <a:gd name="T63" fmla="*/ 809 h 3222"/>
                <a:gd name="T64" fmla="*/ 2495 w 3782"/>
                <a:gd name="T65" fmla="*/ 809 h 3222"/>
                <a:gd name="T66" fmla="*/ 3117 w 3782"/>
                <a:gd name="T67" fmla="*/ 809 h 3222"/>
                <a:gd name="T68" fmla="*/ 3150 w 3782"/>
                <a:gd name="T69" fmla="*/ 809 h 3222"/>
                <a:gd name="T70" fmla="*/ 3150 w 3782"/>
                <a:gd name="T71" fmla="*/ 445 h 3222"/>
                <a:gd name="T72" fmla="*/ 3441 w 3782"/>
                <a:gd name="T73" fmla="*/ 2519 h 3222"/>
                <a:gd name="T74" fmla="*/ 3782 w 3782"/>
                <a:gd name="T75" fmla="*/ 400 h 3222"/>
                <a:gd name="T76" fmla="*/ 2175 w 3782"/>
                <a:gd name="T77" fmla="*/ 165 h 3222"/>
                <a:gd name="T78" fmla="*/ 2495 w 3782"/>
                <a:gd name="T79" fmla="*/ 412 h 3222"/>
                <a:gd name="T80" fmla="*/ 3117 w 3782"/>
                <a:gd name="T81" fmla="*/ 412 h 3222"/>
                <a:gd name="T82" fmla="*/ 3408 w 3782"/>
                <a:gd name="T83" fmla="*/ 165 h 3222"/>
                <a:gd name="T84" fmla="*/ 2374 w 3782"/>
                <a:gd name="T85" fmla="*/ 130 h 3222"/>
                <a:gd name="T86" fmla="*/ 3456 w 3782"/>
                <a:gd name="T87" fmla="*/ 154 h 3222"/>
                <a:gd name="T88" fmla="*/ 3456 w 3782"/>
                <a:gd name="T89" fmla="*/ 2 h 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82" h="3222">
                  <a:moveTo>
                    <a:pt x="2601" y="3222"/>
                  </a:moveTo>
                  <a:lnTo>
                    <a:pt x="2788" y="3222"/>
                  </a:lnTo>
                  <a:lnTo>
                    <a:pt x="2788" y="2794"/>
                  </a:lnTo>
                  <a:lnTo>
                    <a:pt x="2601" y="2794"/>
                  </a:lnTo>
                  <a:lnTo>
                    <a:pt x="2601" y="3222"/>
                  </a:lnTo>
                  <a:close/>
                  <a:moveTo>
                    <a:pt x="2817" y="3222"/>
                  </a:moveTo>
                  <a:lnTo>
                    <a:pt x="3006" y="3222"/>
                  </a:lnTo>
                  <a:lnTo>
                    <a:pt x="3006" y="2794"/>
                  </a:lnTo>
                  <a:lnTo>
                    <a:pt x="2817" y="2794"/>
                  </a:lnTo>
                  <a:lnTo>
                    <a:pt x="2817" y="3222"/>
                  </a:lnTo>
                  <a:close/>
                  <a:moveTo>
                    <a:pt x="2175" y="2093"/>
                  </a:moveTo>
                  <a:lnTo>
                    <a:pt x="2175" y="3222"/>
                  </a:lnTo>
                  <a:lnTo>
                    <a:pt x="2568" y="3222"/>
                  </a:lnTo>
                  <a:lnTo>
                    <a:pt x="2568" y="2756"/>
                  </a:lnTo>
                  <a:lnTo>
                    <a:pt x="3037" y="2756"/>
                  </a:lnTo>
                  <a:lnTo>
                    <a:pt x="3037" y="3222"/>
                  </a:lnTo>
                  <a:lnTo>
                    <a:pt x="3408" y="3222"/>
                  </a:lnTo>
                  <a:lnTo>
                    <a:pt x="3408" y="2093"/>
                  </a:lnTo>
                  <a:lnTo>
                    <a:pt x="2175" y="2093"/>
                  </a:lnTo>
                  <a:close/>
                  <a:moveTo>
                    <a:pt x="0" y="3222"/>
                  </a:moveTo>
                  <a:lnTo>
                    <a:pt x="2132" y="3222"/>
                  </a:lnTo>
                  <a:lnTo>
                    <a:pt x="2132" y="1946"/>
                  </a:lnTo>
                  <a:lnTo>
                    <a:pt x="0" y="1946"/>
                  </a:lnTo>
                  <a:lnTo>
                    <a:pt x="0" y="3222"/>
                  </a:lnTo>
                  <a:close/>
                  <a:moveTo>
                    <a:pt x="291" y="1903"/>
                  </a:moveTo>
                  <a:lnTo>
                    <a:pt x="2130" y="1903"/>
                  </a:lnTo>
                  <a:lnTo>
                    <a:pt x="2130" y="1823"/>
                  </a:lnTo>
                  <a:lnTo>
                    <a:pt x="291" y="1823"/>
                  </a:lnTo>
                  <a:lnTo>
                    <a:pt x="291" y="1903"/>
                  </a:lnTo>
                  <a:close/>
                  <a:moveTo>
                    <a:pt x="2175" y="2055"/>
                  </a:moveTo>
                  <a:lnTo>
                    <a:pt x="2461" y="2055"/>
                  </a:lnTo>
                  <a:lnTo>
                    <a:pt x="2461" y="1690"/>
                  </a:lnTo>
                  <a:lnTo>
                    <a:pt x="2175" y="1690"/>
                  </a:lnTo>
                  <a:lnTo>
                    <a:pt x="2175" y="2055"/>
                  </a:lnTo>
                  <a:close/>
                  <a:moveTo>
                    <a:pt x="2495" y="2055"/>
                  </a:moveTo>
                  <a:lnTo>
                    <a:pt x="2779" y="2055"/>
                  </a:lnTo>
                  <a:lnTo>
                    <a:pt x="2779" y="1690"/>
                  </a:lnTo>
                  <a:lnTo>
                    <a:pt x="2495" y="1690"/>
                  </a:lnTo>
                  <a:lnTo>
                    <a:pt x="2495" y="2055"/>
                  </a:lnTo>
                  <a:close/>
                  <a:moveTo>
                    <a:pt x="2809" y="2055"/>
                  </a:moveTo>
                  <a:lnTo>
                    <a:pt x="3117" y="2055"/>
                  </a:lnTo>
                  <a:lnTo>
                    <a:pt x="3117" y="1690"/>
                  </a:lnTo>
                  <a:lnTo>
                    <a:pt x="2809" y="1690"/>
                  </a:lnTo>
                  <a:lnTo>
                    <a:pt x="2809" y="2055"/>
                  </a:lnTo>
                  <a:close/>
                  <a:moveTo>
                    <a:pt x="3150" y="2055"/>
                  </a:moveTo>
                  <a:lnTo>
                    <a:pt x="3408" y="2055"/>
                  </a:lnTo>
                  <a:lnTo>
                    <a:pt x="3408" y="1690"/>
                  </a:lnTo>
                  <a:lnTo>
                    <a:pt x="3150" y="1690"/>
                  </a:lnTo>
                  <a:lnTo>
                    <a:pt x="3150" y="2055"/>
                  </a:lnTo>
                  <a:close/>
                  <a:moveTo>
                    <a:pt x="2175" y="1652"/>
                  </a:moveTo>
                  <a:lnTo>
                    <a:pt x="2461" y="1652"/>
                  </a:lnTo>
                  <a:lnTo>
                    <a:pt x="2461" y="1257"/>
                  </a:lnTo>
                  <a:lnTo>
                    <a:pt x="2175" y="1257"/>
                  </a:lnTo>
                  <a:lnTo>
                    <a:pt x="2175" y="1652"/>
                  </a:lnTo>
                  <a:close/>
                  <a:moveTo>
                    <a:pt x="2495" y="1652"/>
                  </a:moveTo>
                  <a:lnTo>
                    <a:pt x="2779" y="1652"/>
                  </a:lnTo>
                  <a:lnTo>
                    <a:pt x="2779" y="1257"/>
                  </a:lnTo>
                  <a:lnTo>
                    <a:pt x="2495" y="1257"/>
                  </a:lnTo>
                  <a:lnTo>
                    <a:pt x="2495" y="1652"/>
                  </a:lnTo>
                  <a:close/>
                  <a:moveTo>
                    <a:pt x="2809" y="1652"/>
                  </a:moveTo>
                  <a:lnTo>
                    <a:pt x="3117" y="1652"/>
                  </a:lnTo>
                  <a:lnTo>
                    <a:pt x="3117" y="1257"/>
                  </a:lnTo>
                  <a:lnTo>
                    <a:pt x="2809" y="1257"/>
                  </a:lnTo>
                  <a:lnTo>
                    <a:pt x="2809" y="1652"/>
                  </a:lnTo>
                  <a:close/>
                  <a:moveTo>
                    <a:pt x="3150" y="1652"/>
                  </a:moveTo>
                  <a:lnTo>
                    <a:pt x="3408" y="1652"/>
                  </a:lnTo>
                  <a:lnTo>
                    <a:pt x="3408" y="1257"/>
                  </a:lnTo>
                  <a:lnTo>
                    <a:pt x="3150" y="1257"/>
                  </a:lnTo>
                  <a:lnTo>
                    <a:pt x="3150" y="1652"/>
                  </a:lnTo>
                  <a:close/>
                  <a:moveTo>
                    <a:pt x="2175" y="1226"/>
                  </a:moveTo>
                  <a:lnTo>
                    <a:pt x="2461" y="1226"/>
                  </a:lnTo>
                  <a:lnTo>
                    <a:pt x="2461" y="840"/>
                  </a:lnTo>
                  <a:lnTo>
                    <a:pt x="2175" y="840"/>
                  </a:lnTo>
                  <a:lnTo>
                    <a:pt x="2175" y="1226"/>
                  </a:lnTo>
                  <a:close/>
                  <a:moveTo>
                    <a:pt x="2495" y="1226"/>
                  </a:moveTo>
                  <a:lnTo>
                    <a:pt x="2779" y="1226"/>
                  </a:lnTo>
                  <a:lnTo>
                    <a:pt x="2779" y="840"/>
                  </a:lnTo>
                  <a:lnTo>
                    <a:pt x="2495" y="840"/>
                  </a:lnTo>
                  <a:lnTo>
                    <a:pt x="2495" y="1226"/>
                  </a:lnTo>
                  <a:close/>
                  <a:moveTo>
                    <a:pt x="2809" y="840"/>
                  </a:moveTo>
                  <a:lnTo>
                    <a:pt x="2809" y="1226"/>
                  </a:lnTo>
                  <a:lnTo>
                    <a:pt x="3117" y="1226"/>
                  </a:lnTo>
                  <a:lnTo>
                    <a:pt x="3117" y="840"/>
                  </a:lnTo>
                  <a:lnTo>
                    <a:pt x="2809" y="840"/>
                  </a:lnTo>
                  <a:close/>
                  <a:moveTo>
                    <a:pt x="3150" y="1226"/>
                  </a:moveTo>
                  <a:lnTo>
                    <a:pt x="3408" y="1226"/>
                  </a:lnTo>
                  <a:lnTo>
                    <a:pt x="3408" y="840"/>
                  </a:lnTo>
                  <a:lnTo>
                    <a:pt x="3150" y="840"/>
                  </a:lnTo>
                  <a:lnTo>
                    <a:pt x="3150" y="1226"/>
                  </a:lnTo>
                  <a:close/>
                  <a:moveTo>
                    <a:pt x="2175" y="809"/>
                  </a:moveTo>
                  <a:lnTo>
                    <a:pt x="2461" y="809"/>
                  </a:lnTo>
                  <a:lnTo>
                    <a:pt x="2461" y="445"/>
                  </a:lnTo>
                  <a:lnTo>
                    <a:pt x="2175" y="445"/>
                  </a:lnTo>
                  <a:lnTo>
                    <a:pt x="2175" y="809"/>
                  </a:lnTo>
                  <a:close/>
                  <a:moveTo>
                    <a:pt x="2495" y="809"/>
                  </a:moveTo>
                  <a:lnTo>
                    <a:pt x="2779" y="809"/>
                  </a:lnTo>
                  <a:lnTo>
                    <a:pt x="2779" y="445"/>
                  </a:lnTo>
                  <a:lnTo>
                    <a:pt x="2495" y="445"/>
                  </a:lnTo>
                  <a:lnTo>
                    <a:pt x="2495" y="809"/>
                  </a:lnTo>
                  <a:close/>
                  <a:moveTo>
                    <a:pt x="2809" y="445"/>
                  </a:moveTo>
                  <a:lnTo>
                    <a:pt x="2809" y="809"/>
                  </a:lnTo>
                  <a:lnTo>
                    <a:pt x="3117" y="809"/>
                  </a:lnTo>
                  <a:lnTo>
                    <a:pt x="3117" y="445"/>
                  </a:lnTo>
                  <a:lnTo>
                    <a:pt x="2809" y="445"/>
                  </a:lnTo>
                  <a:close/>
                  <a:moveTo>
                    <a:pt x="3150" y="809"/>
                  </a:moveTo>
                  <a:lnTo>
                    <a:pt x="3408" y="809"/>
                  </a:lnTo>
                  <a:lnTo>
                    <a:pt x="3408" y="445"/>
                  </a:lnTo>
                  <a:lnTo>
                    <a:pt x="3150" y="445"/>
                  </a:lnTo>
                  <a:lnTo>
                    <a:pt x="3150" y="809"/>
                  </a:lnTo>
                  <a:close/>
                  <a:moveTo>
                    <a:pt x="3441" y="888"/>
                  </a:moveTo>
                  <a:lnTo>
                    <a:pt x="3441" y="2519"/>
                  </a:lnTo>
                  <a:lnTo>
                    <a:pt x="3441" y="3215"/>
                  </a:lnTo>
                  <a:lnTo>
                    <a:pt x="3782" y="2988"/>
                  </a:lnTo>
                  <a:lnTo>
                    <a:pt x="3782" y="400"/>
                  </a:lnTo>
                  <a:lnTo>
                    <a:pt x="3441" y="175"/>
                  </a:lnTo>
                  <a:lnTo>
                    <a:pt x="3441" y="888"/>
                  </a:lnTo>
                  <a:close/>
                  <a:moveTo>
                    <a:pt x="2175" y="165"/>
                  </a:moveTo>
                  <a:lnTo>
                    <a:pt x="2175" y="412"/>
                  </a:lnTo>
                  <a:lnTo>
                    <a:pt x="2461" y="412"/>
                  </a:lnTo>
                  <a:lnTo>
                    <a:pt x="2495" y="412"/>
                  </a:lnTo>
                  <a:lnTo>
                    <a:pt x="2779" y="412"/>
                  </a:lnTo>
                  <a:lnTo>
                    <a:pt x="2809" y="412"/>
                  </a:lnTo>
                  <a:lnTo>
                    <a:pt x="3117" y="412"/>
                  </a:lnTo>
                  <a:lnTo>
                    <a:pt x="3150" y="412"/>
                  </a:lnTo>
                  <a:lnTo>
                    <a:pt x="3408" y="412"/>
                  </a:lnTo>
                  <a:lnTo>
                    <a:pt x="3408" y="165"/>
                  </a:lnTo>
                  <a:lnTo>
                    <a:pt x="2175" y="165"/>
                  </a:lnTo>
                  <a:close/>
                  <a:moveTo>
                    <a:pt x="2374" y="0"/>
                  </a:moveTo>
                  <a:lnTo>
                    <a:pt x="2374" y="130"/>
                  </a:lnTo>
                  <a:lnTo>
                    <a:pt x="3411" y="130"/>
                  </a:lnTo>
                  <a:lnTo>
                    <a:pt x="3456" y="154"/>
                  </a:lnTo>
                  <a:lnTo>
                    <a:pt x="3456" y="154"/>
                  </a:lnTo>
                  <a:lnTo>
                    <a:pt x="3763" y="357"/>
                  </a:lnTo>
                  <a:lnTo>
                    <a:pt x="3763" y="206"/>
                  </a:lnTo>
                  <a:lnTo>
                    <a:pt x="3456" y="2"/>
                  </a:lnTo>
                  <a:lnTo>
                    <a:pt x="3456" y="0"/>
                  </a:lnTo>
                  <a:lnTo>
                    <a:pt x="2374"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chemeClr val="bg1"/>
                </a:solidFill>
              </a:endParaRPr>
            </a:p>
          </p:txBody>
        </p:sp>
        <p:grpSp>
          <p:nvGrpSpPr>
            <p:cNvPr id="81" name="Gruppieren 80">
              <a:extLst>
                <a:ext uri="{FF2B5EF4-FFF2-40B4-BE49-F238E27FC236}">
                  <a16:creationId xmlns:a16="http://schemas.microsoft.com/office/drawing/2014/main" xmlns="" id="{109ED51F-15C3-48B2-8628-E33849C3D2D7}"/>
                </a:ext>
              </a:extLst>
            </p:cNvPr>
            <p:cNvGrpSpPr/>
            <p:nvPr/>
          </p:nvGrpSpPr>
          <p:grpSpPr>
            <a:xfrm>
              <a:off x="5941390" y="4866383"/>
              <a:ext cx="309830" cy="484916"/>
              <a:chOff x="8282700" y="1713685"/>
              <a:chExt cx="609601" cy="954087"/>
            </a:xfrm>
            <a:solidFill>
              <a:schemeClr val="bg1"/>
            </a:solidFill>
          </p:grpSpPr>
          <p:sp>
            <p:nvSpPr>
              <p:cNvPr id="82" name="Freeform 5">
                <a:extLst>
                  <a:ext uri="{FF2B5EF4-FFF2-40B4-BE49-F238E27FC236}">
                    <a16:creationId xmlns:a16="http://schemas.microsoft.com/office/drawing/2014/main" xmlns="" id="{C0A3E1FF-0D90-40A0-A404-D7CBC58F7EA3}"/>
                  </a:ext>
                </a:extLst>
              </p:cNvPr>
              <p:cNvSpPr>
                <a:spLocks/>
              </p:cNvSpPr>
              <p:nvPr/>
            </p:nvSpPr>
            <p:spPr bwMode="auto">
              <a:xfrm>
                <a:off x="8282700" y="1713685"/>
                <a:ext cx="247650" cy="954087"/>
              </a:xfrm>
              <a:custGeom>
                <a:avLst/>
                <a:gdLst>
                  <a:gd name="T0" fmla="*/ 144 w 144"/>
                  <a:gd name="T1" fmla="*/ 249 h 557"/>
                  <a:gd name="T2" fmla="*/ 127 w 144"/>
                  <a:gd name="T3" fmla="*/ 190 h 557"/>
                  <a:gd name="T4" fmla="*/ 125 w 144"/>
                  <a:gd name="T5" fmla="*/ 187 h 557"/>
                  <a:gd name="T6" fmla="*/ 108 w 144"/>
                  <a:gd name="T7" fmla="*/ 128 h 557"/>
                  <a:gd name="T8" fmla="*/ 108 w 144"/>
                  <a:gd name="T9" fmla="*/ 32 h 557"/>
                  <a:gd name="T10" fmla="*/ 76 w 144"/>
                  <a:gd name="T11" fmla="*/ 0 h 557"/>
                  <a:gd name="T12" fmla="*/ 69 w 144"/>
                  <a:gd name="T13" fmla="*/ 0 h 557"/>
                  <a:gd name="T14" fmla="*/ 37 w 144"/>
                  <a:gd name="T15" fmla="*/ 32 h 557"/>
                  <a:gd name="T16" fmla="*/ 37 w 144"/>
                  <a:gd name="T17" fmla="*/ 128 h 557"/>
                  <a:gd name="T18" fmla="*/ 19 w 144"/>
                  <a:gd name="T19" fmla="*/ 187 h 557"/>
                  <a:gd name="T20" fmla="*/ 17 w 144"/>
                  <a:gd name="T21" fmla="*/ 190 h 557"/>
                  <a:gd name="T22" fmla="*/ 0 w 144"/>
                  <a:gd name="T23" fmla="*/ 249 h 557"/>
                  <a:gd name="T24" fmla="*/ 0 w 144"/>
                  <a:gd name="T25" fmla="*/ 525 h 557"/>
                  <a:gd name="T26" fmla="*/ 32 w 144"/>
                  <a:gd name="T27" fmla="*/ 557 h 557"/>
                  <a:gd name="T28" fmla="*/ 112 w 144"/>
                  <a:gd name="T29" fmla="*/ 557 h 557"/>
                  <a:gd name="T30" fmla="*/ 144 w 144"/>
                  <a:gd name="T31" fmla="*/ 525 h 557"/>
                  <a:gd name="T32" fmla="*/ 144 w 144"/>
                  <a:gd name="T33" fmla="*/ 249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557">
                    <a:moveTo>
                      <a:pt x="144" y="249"/>
                    </a:moveTo>
                    <a:cubicBezTo>
                      <a:pt x="144" y="249"/>
                      <a:pt x="144" y="217"/>
                      <a:pt x="127" y="190"/>
                    </a:cubicBezTo>
                    <a:cubicBezTo>
                      <a:pt x="125" y="187"/>
                      <a:pt x="125" y="187"/>
                      <a:pt x="125" y="187"/>
                    </a:cubicBezTo>
                    <a:cubicBezTo>
                      <a:pt x="125" y="187"/>
                      <a:pt x="108" y="160"/>
                      <a:pt x="108" y="128"/>
                    </a:cubicBezTo>
                    <a:cubicBezTo>
                      <a:pt x="108" y="32"/>
                      <a:pt x="108" y="32"/>
                      <a:pt x="108" y="32"/>
                    </a:cubicBezTo>
                    <a:cubicBezTo>
                      <a:pt x="108" y="32"/>
                      <a:pt x="108" y="0"/>
                      <a:pt x="76" y="0"/>
                    </a:cubicBezTo>
                    <a:cubicBezTo>
                      <a:pt x="69" y="0"/>
                      <a:pt x="69" y="0"/>
                      <a:pt x="69" y="0"/>
                    </a:cubicBezTo>
                    <a:cubicBezTo>
                      <a:pt x="69" y="0"/>
                      <a:pt x="37" y="0"/>
                      <a:pt x="37" y="32"/>
                    </a:cubicBezTo>
                    <a:cubicBezTo>
                      <a:pt x="37" y="128"/>
                      <a:pt x="37" y="128"/>
                      <a:pt x="37" y="128"/>
                    </a:cubicBezTo>
                    <a:cubicBezTo>
                      <a:pt x="37" y="128"/>
                      <a:pt x="37" y="160"/>
                      <a:pt x="19" y="187"/>
                    </a:cubicBezTo>
                    <a:cubicBezTo>
                      <a:pt x="17" y="190"/>
                      <a:pt x="17" y="190"/>
                      <a:pt x="17" y="190"/>
                    </a:cubicBezTo>
                    <a:cubicBezTo>
                      <a:pt x="17" y="190"/>
                      <a:pt x="0" y="217"/>
                      <a:pt x="0" y="249"/>
                    </a:cubicBezTo>
                    <a:cubicBezTo>
                      <a:pt x="0" y="525"/>
                      <a:pt x="0" y="525"/>
                      <a:pt x="0" y="525"/>
                    </a:cubicBezTo>
                    <a:cubicBezTo>
                      <a:pt x="0" y="525"/>
                      <a:pt x="0" y="557"/>
                      <a:pt x="32" y="557"/>
                    </a:cubicBezTo>
                    <a:cubicBezTo>
                      <a:pt x="112" y="557"/>
                      <a:pt x="112" y="557"/>
                      <a:pt x="112" y="557"/>
                    </a:cubicBezTo>
                    <a:cubicBezTo>
                      <a:pt x="112" y="557"/>
                      <a:pt x="144" y="557"/>
                      <a:pt x="144" y="525"/>
                    </a:cubicBezTo>
                    <a:lnTo>
                      <a:pt x="14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6">
                <a:extLst>
                  <a:ext uri="{FF2B5EF4-FFF2-40B4-BE49-F238E27FC236}">
                    <a16:creationId xmlns:a16="http://schemas.microsoft.com/office/drawing/2014/main" xmlns="" id="{5F233C85-78C4-43D5-999B-021778F02B34}"/>
                  </a:ext>
                </a:extLst>
              </p:cNvPr>
              <p:cNvSpPr>
                <a:spLocks/>
              </p:cNvSpPr>
              <p:nvPr/>
            </p:nvSpPr>
            <p:spPr bwMode="auto">
              <a:xfrm>
                <a:off x="8620838" y="2158184"/>
                <a:ext cx="271463" cy="509587"/>
              </a:xfrm>
              <a:custGeom>
                <a:avLst/>
                <a:gdLst>
                  <a:gd name="T0" fmla="*/ 158 w 158"/>
                  <a:gd name="T1" fmla="*/ 272 h 298"/>
                  <a:gd name="T2" fmla="*/ 158 w 158"/>
                  <a:gd name="T3" fmla="*/ 0 h 298"/>
                  <a:gd name="T4" fmla="*/ 79 w 158"/>
                  <a:gd name="T5" fmla="*/ 26 h 298"/>
                  <a:gd name="T6" fmla="*/ 0 w 158"/>
                  <a:gd name="T7" fmla="*/ 0 h 298"/>
                  <a:gd name="T8" fmla="*/ 0 w 158"/>
                  <a:gd name="T9" fmla="*/ 272 h 298"/>
                  <a:gd name="T10" fmla="*/ 79 w 158"/>
                  <a:gd name="T11" fmla="*/ 298 h 298"/>
                  <a:gd name="T12" fmla="*/ 158 w 158"/>
                  <a:gd name="T13" fmla="*/ 272 h 298"/>
                </a:gdLst>
                <a:ahLst/>
                <a:cxnLst>
                  <a:cxn ang="0">
                    <a:pos x="T0" y="T1"/>
                  </a:cxn>
                  <a:cxn ang="0">
                    <a:pos x="T2" y="T3"/>
                  </a:cxn>
                  <a:cxn ang="0">
                    <a:pos x="T4" y="T5"/>
                  </a:cxn>
                  <a:cxn ang="0">
                    <a:pos x="T6" y="T7"/>
                  </a:cxn>
                  <a:cxn ang="0">
                    <a:pos x="T8" y="T9"/>
                  </a:cxn>
                  <a:cxn ang="0">
                    <a:pos x="T10" y="T11"/>
                  </a:cxn>
                  <a:cxn ang="0">
                    <a:pos x="T12" y="T13"/>
                  </a:cxn>
                </a:cxnLst>
                <a:rect l="0" t="0" r="r" b="b"/>
                <a:pathLst>
                  <a:path w="158" h="298">
                    <a:moveTo>
                      <a:pt x="158" y="272"/>
                    </a:moveTo>
                    <a:cubicBezTo>
                      <a:pt x="158" y="0"/>
                      <a:pt x="158" y="0"/>
                      <a:pt x="158" y="0"/>
                    </a:cubicBezTo>
                    <a:cubicBezTo>
                      <a:pt x="158" y="14"/>
                      <a:pt x="123" y="26"/>
                      <a:pt x="79" y="26"/>
                    </a:cubicBezTo>
                    <a:cubicBezTo>
                      <a:pt x="35" y="26"/>
                      <a:pt x="0" y="14"/>
                      <a:pt x="0" y="0"/>
                    </a:cubicBezTo>
                    <a:cubicBezTo>
                      <a:pt x="0" y="272"/>
                      <a:pt x="0" y="272"/>
                      <a:pt x="0" y="272"/>
                    </a:cubicBezTo>
                    <a:cubicBezTo>
                      <a:pt x="0" y="286"/>
                      <a:pt x="35" y="298"/>
                      <a:pt x="79" y="298"/>
                    </a:cubicBezTo>
                    <a:cubicBezTo>
                      <a:pt x="123" y="298"/>
                      <a:pt x="158" y="286"/>
                      <a:pt x="158" y="2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Oval 7">
                <a:extLst>
                  <a:ext uri="{FF2B5EF4-FFF2-40B4-BE49-F238E27FC236}">
                    <a16:creationId xmlns:a16="http://schemas.microsoft.com/office/drawing/2014/main" xmlns="" id="{95852A00-2782-46F4-929D-480897CBD845}"/>
                  </a:ext>
                </a:extLst>
              </p:cNvPr>
              <p:cNvSpPr>
                <a:spLocks noChangeArrowheads="1"/>
              </p:cNvSpPr>
              <p:nvPr/>
            </p:nvSpPr>
            <p:spPr bwMode="auto">
              <a:xfrm>
                <a:off x="8620838" y="2086747"/>
                <a:ext cx="271463" cy="889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uppieren 84">
              <a:extLst>
                <a:ext uri="{FF2B5EF4-FFF2-40B4-BE49-F238E27FC236}">
                  <a16:creationId xmlns:a16="http://schemas.microsoft.com/office/drawing/2014/main" xmlns="" id="{3962B7E3-23BA-4312-B605-32A80CF3A63A}"/>
                </a:ext>
              </a:extLst>
            </p:cNvPr>
            <p:cNvGrpSpPr/>
            <p:nvPr/>
          </p:nvGrpSpPr>
          <p:grpSpPr>
            <a:xfrm>
              <a:off x="5847796" y="2131803"/>
              <a:ext cx="497019" cy="459097"/>
              <a:chOff x="7686675" y="3676651"/>
              <a:chExt cx="977900" cy="903287"/>
            </a:xfrm>
            <a:solidFill>
              <a:schemeClr val="bg1"/>
            </a:solidFill>
          </p:grpSpPr>
          <p:sp>
            <p:nvSpPr>
              <p:cNvPr id="86" name="Freeform 11">
                <a:extLst>
                  <a:ext uri="{FF2B5EF4-FFF2-40B4-BE49-F238E27FC236}">
                    <a16:creationId xmlns:a16="http://schemas.microsoft.com/office/drawing/2014/main" xmlns="" id="{02E44CFA-712A-4972-8151-5C8D0C6617C6}"/>
                  </a:ext>
                </a:extLst>
              </p:cNvPr>
              <p:cNvSpPr>
                <a:spLocks noEditPoints="1"/>
              </p:cNvSpPr>
              <p:nvPr/>
            </p:nvSpPr>
            <p:spPr bwMode="auto">
              <a:xfrm>
                <a:off x="7686675" y="3973513"/>
                <a:ext cx="673100" cy="606425"/>
              </a:xfrm>
              <a:custGeom>
                <a:avLst/>
                <a:gdLst>
                  <a:gd name="T0" fmla="*/ 271 w 487"/>
                  <a:gd name="T1" fmla="*/ 438 h 438"/>
                  <a:gd name="T2" fmla="*/ 271 w 487"/>
                  <a:gd name="T3" fmla="*/ 357 h 438"/>
                  <a:gd name="T4" fmla="*/ 54 w 487"/>
                  <a:gd name="T5" fmla="*/ 398 h 438"/>
                  <a:gd name="T6" fmla="*/ 135 w 487"/>
                  <a:gd name="T7" fmla="*/ 398 h 438"/>
                  <a:gd name="T8" fmla="*/ 54 w 487"/>
                  <a:gd name="T9" fmla="*/ 398 h 438"/>
                  <a:gd name="T10" fmla="*/ 349 w 487"/>
                  <a:gd name="T11" fmla="*/ 223 h 438"/>
                  <a:gd name="T12" fmla="*/ 326 w 487"/>
                  <a:gd name="T13" fmla="*/ 166 h 438"/>
                  <a:gd name="T14" fmla="*/ 326 w 487"/>
                  <a:gd name="T15" fmla="*/ 252 h 438"/>
                  <a:gd name="T16" fmla="*/ 326 w 487"/>
                  <a:gd name="T17" fmla="*/ 272 h 438"/>
                  <a:gd name="T18" fmla="*/ 298 w 487"/>
                  <a:gd name="T19" fmla="*/ 309 h 438"/>
                  <a:gd name="T20" fmla="*/ 227 w 487"/>
                  <a:gd name="T21" fmla="*/ 252 h 438"/>
                  <a:gd name="T22" fmla="*/ 298 w 487"/>
                  <a:gd name="T23" fmla="*/ 309 h 438"/>
                  <a:gd name="T24" fmla="*/ 227 w 487"/>
                  <a:gd name="T25" fmla="*/ 223 h 438"/>
                  <a:gd name="T26" fmla="*/ 298 w 487"/>
                  <a:gd name="T27" fmla="*/ 166 h 438"/>
                  <a:gd name="T28" fmla="*/ 198 w 487"/>
                  <a:gd name="T29" fmla="*/ 309 h 438"/>
                  <a:gd name="T30" fmla="*/ 128 w 487"/>
                  <a:gd name="T31" fmla="*/ 252 h 438"/>
                  <a:gd name="T32" fmla="*/ 198 w 487"/>
                  <a:gd name="T33" fmla="*/ 309 h 438"/>
                  <a:gd name="T34" fmla="*/ 128 w 487"/>
                  <a:gd name="T35" fmla="*/ 223 h 438"/>
                  <a:gd name="T36" fmla="*/ 198 w 487"/>
                  <a:gd name="T37" fmla="*/ 166 h 438"/>
                  <a:gd name="T38" fmla="*/ 99 w 487"/>
                  <a:gd name="T39" fmla="*/ 309 h 438"/>
                  <a:gd name="T40" fmla="*/ 28 w 487"/>
                  <a:gd name="T41" fmla="*/ 252 h 438"/>
                  <a:gd name="T42" fmla="*/ 99 w 487"/>
                  <a:gd name="T43" fmla="*/ 309 h 438"/>
                  <a:gd name="T44" fmla="*/ 28 w 487"/>
                  <a:gd name="T45" fmla="*/ 223 h 438"/>
                  <a:gd name="T46" fmla="*/ 99 w 487"/>
                  <a:gd name="T47" fmla="*/ 166 h 438"/>
                  <a:gd name="T48" fmla="*/ 487 w 487"/>
                  <a:gd name="T49" fmla="*/ 0 h 438"/>
                  <a:gd name="T50" fmla="*/ 391 w 487"/>
                  <a:gd name="T51" fmla="*/ 138 h 438"/>
                  <a:gd name="T52" fmla="*/ 298 w 487"/>
                  <a:gd name="T53" fmla="*/ 138 h 438"/>
                  <a:gd name="T54" fmla="*/ 198 w 487"/>
                  <a:gd name="T55" fmla="*/ 138 h 438"/>
                  <a:gd name="T56" fmla="*/ 99 w 487"/>
                  <a:gd name="T57" fmla="*/ 138 h 438"/>
                  <a:gd name="T58" fmla="*/ 0 w 487"/>
                  <a:gd name="T59" fmla="*/ 138 h 438"/>
                  <a:gd name="T60" fmla="*/ 0 w 487"/>
                  <a:gd name="T61" fmla="*/ 223 h 438"/>
                  <a:gd name="T62" fmla="*/ 0 w 487"/>
                  <a:gd name="T63" fmla="*/ 309 h 438"/>
                  <a:gd name="T64" fmla="*/ 28 w 487"/>
                  <a:gd name="T65" fmla="*/ 337 h 438"/>
                  <a:gd name="T66" fmla="*/ 128 w 487"/>
                  <a:gd name="T67" fmla="*/ 337 h 438"/>
                  <a:gd name="T68" fmla="*/ 227 w 487"/>
                  <a:gd name="T69" fmla="*/ 337 h 438"/>
                  <a:gd name="T70" fmla="*/ 298 w 487"/>
                  <a:gd name="T71" fmla="*/ 337 h 438"/>
                  <a:gd name="T72" fmla="*/ 322 w 487"/>
                  <a:gd name="T73" fmla="*/ 337 h 438"/>
                  <a:gd name="T74" fmla="*/ 326 w 487"/>
                  <a:gd name="T75" fmla="*/ 33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7" h="438">
                    <a:moveTo>
                      <a:pt x="231" y="398"/>
                    </a:moveTo>
                    <a:cubicBezTo>
                      <a:pt x="231" y="420"/>
                      <a:pt x="249" y="438"/>
                      <a:pt x="271" y="438"/>
                    </a:cubicBezTo>
                    <a:cubicBezTo>
                      <a:pt x="294" y="438"/>
                      <a:pt x="312" y="420"/>
                      <a:pt x="312" y="398"/>
                    </a:cubicBezTo>
                    <a:cubicBezTo>
                      <a:pt x="312" y="375"/>
                      <a:pt x="294" y="357"/>
                      <a:pt x="271" y="357"/>
                    </a:cubicBezTo>
                    <a:cubicBezTo>
                      <a:pt x="249" y="357"/>
                      <a:pt x="231" y="375"/>
                      <a:pt x="231" y="398"/>
                    </a:cubicBezTo>
                    <a:moveTo>
                      <a:pt x="54" y="398"/>
                    </a:moveTo>
                    <a:cubicBezTo>
                      <a:pt x="54" y="420"/>
                      <a:pt x="72" y="438"/>
                      <a:pt x="95" y="438"/>
                    </a:cubicBezTo>
                    <a:cubicBezTo>
                      <a:pt x="117" y="438"/>
                      <a:pt x="135" y="420"/>
                      <a:pt x="135" y="398"/>
                    </a:cubicBezTo>
                    <a:cubicBezTo>
                      <a:pt x="135" y="375"/>
                      <a:pt x="117" y="357"/>
                      <a:pt x="95" y="357"/>
                    </a:cubicBezTo>
                    <a:cubicBezTo>
                      <a:pt x="72" y="357"/>
                      <a:pt x="54" y="375"/>
                      <a:pt x="54" y="398"/>
                    </a:cubicBezTo>
                    <a:moveTo>
                      <a:pt x="377" y="166"/>
                    </a:moveTo>
                    <a:cubicBezTo>
                      <a:pt x="349" y="223"/>
                      <a:pt x="349" y="223"/>
                      <a:pt x="349" y="223"/>
                    </a:cubicBezTo>
                    <a:cubicBezTo>
                      <a:pt x="326" y="223"/>
                      <a:pt x="326" y="223"/>
                      <a:pt x="326" y="223"/>
                    </a:cubicBezTo>
                    <a:cubicBezTo>
                      <a:pt x="326" y="166"/>
                      <a:pt x="326" y="166"/>
                      <a:pt x="326" y="166"/>
                    </a:cubicBezTo>
                    <a:lnTo>
                      <a:pt x="377" y="166"/>
                    </a:lnTo>
                    <a:close/>
                    <a:moveTo>
                      <a:pt x="326" y="252"/>
                    </a:moveTo>
                    <a:cubicBezTo>
                      <a:pt x="336" y="252"/>
                      <a:pt x="336" y="252"/>
                      <a:pt x="336" y="252"/>
                    </a:cubicBezTo>
                    <a:cubicBezTo>
                      <a:pt x="326" y="272"/>
                      <a:pt x="326" y="272"/>
                      <a:pt x="326" y="272"/>
                    </a:cubicBezTo>
                    <a:lnTo>
                      <a:pt x="326" y="252"/>
                    </a:lnTo>
                    <a:close/>
                    <a:moveTo>
                      <a:pt x="298" y="309"/>
                    </a:moveTo>
                    <a:cubicBezTo>
                      <a:pt x="227" y="309"/>
                      <a:pt x="227" y="309"/>
                      <a:pt x="227" y="309"/>
                    </a:cubicBezTo>
                    <a:cubicBezTo>
                      <a:pt x="227" y="252"/>
                      <a:pt x="227" y="252"/>
                      <a:pt x="227" y="252"/>
                    </a:cubicBezTo>
                    <a:cubicBezTo>
                      <a:pt x="298" y="252"/>
                      <a:pt x="298" y="252"/>
                      <a:pt x="298" y="252"/>
                    </a:cubicBezTo>
                    <a:lnTo>
                      <a:pt x="298" y="309"/>
                    </a:lnTo>
                    <a:close/>
                    <a:moveTo>
                      <a:pt x="298" y="223"/>
                    </a:moveTo>
                    <a:cubicBezTo>
                      <a:pt x="227" y="223"/>
                      <a:pt x="227" y="223"/>
                      <a:pt x="227" y="223"/>
                    </a:cubicBezTo>
                    <a:cubicBezTo>
                      <a:pt x="227" y="166"/>
                      <a:pt x="227" y="166"/>
                      <a:pt x="227" y="166"/>
                    </a:cubicBezTo>
                    <a:cubicBezTo>
                      <a:pt x="298" y="166"/>
                      <a:pt x="298" y="166"/>
                      <a:pt x="298" y="166"/>
                    </a:cubicBezTo>
                    <a:lnTo>
                      <a:pt x="298" y="223"/>
                    </a:lnTo>
                    <a:close/>
                    <a:moveTo>
                      <a:pt x="198" y="309"/>
                    </a:moveTo>
                    <a:cubicBezTo>
                      <a:pt x="128" y="309"/>
                      <a:pt x="128" y="309"/>
                      <a:pt x="128" y="309"/>
                    </a:cubicBezTo>
                    <a:cubicBezTo>
                      <a:pt x="128" y="252"/>
                      <a:pt x="128" y="252"/>
                      <a:pt x="128" y="252"/>
                    </a:cubicBezTo>
                    <a:cubicBezTo>
                      <a:pt x="198" y="252"/>
                      <a:pt x="198" y="252"/>
                      <a:pt x="198" y="252"/>
                    </a:cubicBezTo>
                    <a:lnTo>
                      <a:pt x="198" y="309"/>
                    </a:lnTo>
                    <a:close/>
                    <a:moveTo>
                      <a:pt x="198" y="223"/>
                    </a:moveTo>
                    <a:cubicBezTo>
                      <a:pt x="128" y="223"/>
                      <a:pt x="128" y="223"/>
                      <a:pt x="128" y="223"/>
                    </a:cubicBezTo>
                    <a:cubicBezTo>
                      <a:pt x="128" y="166"/>
                      <a:pt x="128" y="166"/>
                      <a:pt x="128" y="166"/>
                    </a:cubicBezTo>
                    <a:cubicBezTo>
                      <a:pt x="198" y="166"/>
                      <a:pt x="198" y="166"/>
                      <a:pt x="198" y="166"/>
                    </a:cubicBezTo>
                    <a:lnTo>
                      <a:pt x="198" y="223"/>
                    </a:lnTo>
                    <a:close/>
                    <a:moveTo>
                      <a:pt x="99" y="309"/>
                    </a:moveTo>
                    <a:cubicBezTo>
                      <a:pt x="28" y="309"/>
                      <a:pt x="28" y="309"/>
                      <a:pt x="28" y="309"/>
                    </a:cubicBezTo>
                    <a:cubicBezTo>
                      <a:pt x="28" y="252"/>
                      <a:pt x="28" y="252"/>
                      <a:pt x="28" y="252"/>
                    </a:cubicBezTo>
                    <a:cubicBezTo>
                      <a:pt x="99" y="252"/>
                      <a:pt x="99" y="252"/>
                      <a:pt x="99" y="252"/>
                    </a:cubicBezTo>
                    <a:lnTo>
                      <a:pt x="99" y="309"/>
                    </a:lnTo>
                    <a:close/>
                    <a:moveTo>
                      <a:pt x="99" y="223"/>
                    </a:moveTo>
                    <a:cubicBezTo>
                      <a:pt x="28" y="223"/>
                      <a:pt x="28" y="223"/>
                      <a:pt x="28" y="223"/>
                    </a:cubicBezTo>
                    <a:cubicBezTo>
                      <a:pt x="28" y="166"/>
                      <a:pt x="28" y="166"/>
                      <a:pt x="28" y="166"/>
                    </a:cubicBezTo>
                    <a:cubicBezTo>
                      <a:pt x="99" y="166"/>
                      <a:pt x="99" y="166"/>
                      <a:pt x="99" y="166"/>
                    </a:cubicBezTo>
                    <a:lnTo>
                      <a:pt x="99" y="223"/>
                    </a:lnTo>
                    <a:close/>
                    <a:moveTo>
                      <a:pt x="487" y="0"/>
                    </a:moveTo>
                    <a:cubicBezTo>
                      <a:pt x="458" y="0"/>
                      <a:pt x="458" y="0"/>
                      <a:pt x="458" y="0"/>
                    </a:cubicBezTo>
                    <a:cubicBezTo>
                      <a:pt x="391" y="138"/>
                      <a:pt x="391" y="138"/>
                      <a:pt x="391" y="138"/>
                    </a:cubicBezTo>
                    <a:cubicBezTo>
                      <a:pt x="326" y="138"/>
                      <a:pt x="326" y="138"/>
                      <a:pt x="326" y="138"/>
                    </a:cubicBezTo>
                    <a:cubicBezTo>
                      <a:pt x="298" y="138"/>
                      <a:pt x="298" y="138"/>
                      <a:pt x="298" y="138"/>
                    </a:cubicBezTo>
                    <a:cubicBezTo>
                      <a:pt x="227" y="138"/>
                      <a:pt x="227" y="138"/>
                      <a:pt x="227" y="138"/>
                    </a:cubicBezTo>
                    <a:cubicBezTo>
                      <a:pt x="198" y="138"/>
                      <a:pt x="198" y="138"/>
                      <a:pt x="198" y="138"/>
                    </a:cubicBezTo>
                    <a:cubicBezTo>
                      <a:pt x="128" y="138"/>
                      <a:pt x="128" y="138"/>
                      <a:pt x="128" y="138"/>
                    </a:cubicBezTo>
                    <a:cubicBezTo>
                      <a:pt x="99" y="138"/>
                      <a:pt x="99" y="138"/>
                      <a:pt x="99" y="138"/>
                    </a:cubicBezTo>
                    <a:cubicBezTo>
                      <a:pt x="28" y="138"/>
                      <a:pt x="28" y="138"/>
                      <a:pt x="28" y="138"/>
                    </a:cubicBezTo>
                    <a:cubicBezTo>
                      <a:pt x="0" y="138"/>
                      <a:pt x="0" y="138"/>
                      <a:pt x="0" y="138"/>
                    </a:cubicBezTo>
                    <a:cubicBezTo>
                      <a:pt x="0" y="166"/>
                      <a:pt x="0" y="166"/>
                      <a:pt x="0" y="166"/>
                    </a:cubicBezTo>
                    <a:cubicBezTo>
                      <a:pt x="0" y="223"/>
                      <a:pt x="0" y="223"/>
                      <a:pt x="0" y="223"/>
                    </a:cubicBezTo>
                    <a:cubicBezTo>
                      <a:pt x="0" y="252"/>
                      <a:pt x="0" y="252"/>
                      <a:pt x="0" y="252"/>
                    </a:cubicBezTo>
                    <a:cubicBezTo>
                      <a:pt x="0" y="309"/>
                      <a:pt x="0" y="309"/>
                      <a:pt x="0" y="309"/>
                    </a:cubicBezTo>
                    <a:cubicBezTo>
                      <a:pt x="0" y="337"/>
                      <a:pt x="0" y="337"/>
                      <a:pt x="0" y="337"/>
                    </a:cubicBezTo>
                    <a:cubicBezTo>
                      <a:pt x="28" y="337"/>
                      <a:pt x="28" y="337"/>
                      <a:pt x="28" y="337"/>
                    </a:cubicBezTo>
                    <a:cubicBezTo>
                      <a:pt x="99" y="337"/>
                      <a:pt x="99" y="337"/>
                      <a:pt x="99" y="337"/>
                    </a:cubicBezTo>
                    <a:cubicBezTo>
                      <a:pt x="128" y="337"/>
                      <a:pt x="128" y="337"/>
                      <a:pt x="128" y="337"/>
                    </a:cubicBezTo>
                    <a:cubicBezTo>
                      <a:pt x="198" y="337"/>
                      <a:pt x="198" y="337"/>
                      <a:pt x="198" y="337"/>
                    </a:cubicBezTo>
                    <a:cubicBezTo>
                      <a:pt x="227" y="337"/>
                      <a:pt x="227" y="337"/>
                      <a:pt x="227" y="337"/>
                    </a:cubicBezTo>
                    <a:cubicBezTo>
                      <a:pt x="294" y="337"/>
                      <a:pt x="294" y="337"/>
                      <a:pt x="294" y="337"/>
                    </a:cubicBezTo>
                    <a:cubicBezTo>
                      <a:pt x="298" y="337"/>
                      <a:pt x="298" y="337"/>
                      <a:pt x="298" y="337"/>
                    </a:cubicBezTo>
                    <a:cubicBezTo>
                      <a:pt x="312" y="337"/>
                      <a:pt x="312" y="337"/>
                      <a:pt x="312" y="337"/>
                    </a:cubicBezTo>
                    <a:cubicBezTo>
                      <a:pt x="322" y="337"/>
                      <a:pt x="322" y="337"/>
                      <a:pt x="322" y="337"/>
                    </a:cubicBezTo>
                    <a:cubicBezTo>
                      <a:pt x="326" y="337"/>
                      <a:pt x="326" y="337"/>
                      <a:pt x="326" y="337"/>
                    </a:cubicBezTo>
                    <a:cubicBezTo>
                      <a:pt x="326" y="330"/>
                      <a:pt x="326" y="330"/>
                      <a:pt x="326" y="330"/>
                    </a:cubicBezTo>
                    <a:lnTo>
                      <a:pt x="48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Oval 12">
                <a:extLst>
                  <a:ext uri="{FF2B5EF4-FFF2-40B4-BE49-F238E27FC236}">
                    <a16:creationId xmlns:a16="http://schemas.microsoft.com/office/drawing/2014/main" xmlns="" id="{FCBD4456-7C07-4EAD-AE4F-C81774C2B5A5}"/>
                  </a:ext>
                </a:extLst>
              </p:cNvPr>
              <p:cNvSpPr>
                <a:spLocks noChangeArrowheads="1"/>
              </p:cNvSpPr>
              <p:nvPr/>
            </p:nvSpPr>
            <p:spPr bwMode="auto">
              <a:xfrm>
                <a:off x="8456613" y="3676651"/>
                <a:ext cx="139700" cy="1793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13">
                <a:extLst>
                  <a:ext uri="{FF2B5EF4-FFF2-40B4-BE49-F238E27FC236}">
                    <a16:creationId xmlns:a16="http://schemas.microsoft.com/office/drawing/2014/main" xmlns="" id="{F6237BF3-8F48-468F-96CA-3C3C74F304A8}"/>
                  </a:ext>
                </a:extLst>
              </p:cNvPr>
              <p:cNvSpPr>
                <a:spLocks/>
              </p:cNvSpPr>
              <p:nvPr/>
            </p:nvSpPr>
            <p:spPr bwMode="auto">
              <a:xfrm>
                <a:off x="8389938" y="3856038"/>
                <a:ext cx="274637" cy="723900"/>
              </a:xfrm>
              <a:custGeom>
                <a:avLst/>
                <a:gdLst>
                  <a:gd name="T0" fmla="*/ 198 w 198"/>
                  <a:gd name="T1" fmla="*/ 277 h 524"/>
                  <a:gd name="T2" fmla="*/ 191 w 198"/>
                  <a:gd name="T3" fmla="*/ 30 h 524"/>
                  <a:gd name="T4" fmla="*/ 141 w 198"/>
                  <a:gd name="T5" fmla="*/ 0 h 524"/>
                  <a:gd name="T6" fmla="*/ 140 w 198"/>
                  <a:gd name="T7" fmla="*/ 0 h 524"/>
                  <a:gd name="T8" fmla="*/ 99 w 198"/>
                  <a:gd name="T9" fmla="*/ 22 h 524"/>
                  <a:gd name="T10" fmla="*/ 57 w 198"/>
                  <a:gd name="T11" fmla="*/ 0 h 524"/>
                  <a:gd name="T12" fmla="*/ 57 w 198"/>
                  <a:gd name="T13" fmla="*/ 0 h 524"/>
                  <a:gd name="T14" fmla="*/ 6 w 198"/>
                  <a:gd name="T15" fmla="*/ 30 h 524"/>
                  <a:gd name="T16" fmla="*/ 0 w 198"/>
                  <a:gd name="T17" fmla="*/ 277 h 524"/>
                  <a:gd name="T18" fmla="*/ 12 w 198"/>
                  <a:gd name="T19" fmla="*/ 289 h 524"/>
                  <a:gd name="T20" fmla="*/ 17 w 198"/>
                  <a:gd name="T21" fmla="*/ 289 h 524"/>
                  <a:gd name="T22" fmla="*/ 29 w 198"/>
                  <a:gd name="T23" fmla="*/ 277 h 524"/>
                  <a:gd name="T24" fmla="*/ 29 w 198"/>
                  <a:gd name="T25" fmla="*/ 249 h 524"/>
                  <a:gd name="T26" fmla="*/ 52 w 198"/>
                  <a:gd name="T27" fmla="*/ 254 h 524"/>
                  <a:gd name="T28" fmla="*/ 51 w 198"/>
                  <a:gd name="T29" fmla="*/ 261 h 524"/>
                  <a:gd name="T30" fmla="*/ 51 w 198"/>
                  <a:gd name="T31" fmla="*/ 500 h 524"/>
                  <a:gd name="T32" fmla="*/ 66 w 198"/>
                  <a:gd name="T33" fmla="*/ 524 h 524"/>
                  <a:gd name="T34" fmla="*/ 73 w 198"/>
                  <a:gd name="T35" fmla="*/ 524 h 524"/>
                  <a:gd name="T36" fmla="*/ 89 w 198"/>
                  <a:gd name="T37" fmla="*/ 500 h 524"/>
                  <a:gd name="T38" fmla="*/ 89 w 198"/>
                  <a:gd name="T39" fmla="*/ 261 h 524"/>
                  <a:gd name="T40" fmla="*/ 88 w 198"/>
                  <a:gd name="T41" fmla="*/ 256 h 524"/>
                  <a:gd name="T42" fmla="*/ 109 w 198"/>
                  <a:gd name="T43" fmla="*/ 256 h 524"/>
                  <a:gd name="T44" fmla="*/ 108 w 198"/>
                  <a:gd name="T45" fmla="*/ 261 h 524"/>
                  <a:gd name="T46" fmla="*/ 108 w 198"/>
                  <a:gd name="T47" fmla="*/ 500 h 524"/>
                  <a:gd name="T48" fmla="*/ 125 w 198"/>
                  <a:gd name="T49" fmla="*/ 524 h 524"/>
                  <a:gd name="T50" fmla="*/ 131 w 198"/>
                  <a:gd name="T51" fmla="*/ 524 h 524"/>
                  <a:gd name="T52" fmla="*/ 147 w 198"/>
                  <a:gd name="T53" fmla="*/ 500 h 524"/>
                  <a:gd name="T54" fmla="*/ 147 w 198"/>
                  <a:gd name="T55" fmla="*/ 261 h 524"/>
                  <a:gd name="T56" fmla="*/ 145 w 198"/>
                  <a:gd name="T57" fmla="*/ 253 h 524"/>
                  <a:gd name="T58" fmla="*/ 169 w 198"/>
                  <a:gd name="T59" fmla="*/ 249 h 524"/>
                  <a:gd name="T60" fmla="*/ 169 w 198"/>
                  <a:gd name="T61" fmla="*/ 277 h 524"/>
                  <a:gd name="T62" fmla="*/ 181 w 198"/>
                  <a:gd name="T63" fmla="*/ 289 h 524"/>
                  <a:gd name="T64" fmla="*/ 186 w 198"/>
                  <a:gd name="T65" fmla="*/ 289 h 524"/>
                  <a:gd name="T66" fmla="*/ 198 w 198"/>
                  <a:gd name="T67" fmla="*/ 27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524">
                    <a:moveTo>
                      <a:pt x="198" y="277"/>
                    </a:moveTo>
                    <a:cubicBezTo>
                      <a:pt x="191" y="30"/>
                      <a:pt x="191" y="30"/>
                      <a:pt x="191" y="30"/>
                    </a:cubicBezTo>
                    <a:cubicBezTo>
                      <a:pt x="191" y="15"/>
                      <a:pt x="163" y="0"/>
                      <a:pt x="141" y="0"/>
                    </a:cubicBezTo>
                    <a:cubicBezTo>
                      <a:pt x="140" y="0"/>
                      <a:pt x="140" y="0"/>
                      <a:pt x="140" y="0"/>
                    </a:cubicBezTo>
                    <a:cubicBezTo>
                      <a:pt x="129" y="14"/>
                      <a:pt x="115" y="22"/>
                      <a:pt x="99" y="22"/>
                    </a:cubicBezTo>
                    <a:cubicBezTo>
                      <a:pt x="83" y="22"/>
                      <a:pt x="68" y="14"/>
                      <a:pt x="57" y="0"/>
                    </a:cubicBezTo>
                    <a:cubicBezTo>
                      <a:pt x="57" y="0"/>
                      <a:pt x="57" y="0"/>
                      <a:pt x="57" y="0"/>
                    </a:cubicBezTo>
                    <a:cubicBezTo>
                      <a:pt x="57" y="0"/>
                      <a:pt x="6" y="10"/>
                      <a:pt x="6" y="30"/>
                    </a:cubicBezTo>
                    <a:cubicBezTo>
                      <a:pt x="0" y="277"/>
                      <a:pt x="0" y="277"/>
                      <a:pt x="0" y="277"/>
                    </a:cubicBezTo>
                    <a:cubicBezTo>
                      <a:pt x="0" y="277"/>
                      <a:pt x="0" y="289"/>
                      <a:pt x="12" y="289"/>
                    </a:cubicBezTo>
                    <a:cubicBezTo>
                      <a:pt x="17" y="289"/>
                      <a:pt x="17" y="289"/>
                      <a:pt x="17" y="289"/>
                    </a:cubicBezTo>
                    <a:cubicBezTo>
                      <a:pt x="17" y="289"/>
                      <a:pt x="29" y="289"/>
                      <a:pt x="29" y="277"/>
                    </a:cubicBezTo>
                    <a:cubicBezTo>
                      <a:pt x="29" y="249"/>
                      <a:pt x="29" y="249"/>
                      <a:pt x="29" y="249"/>
                    </a:cubicBezTo>
                    <a:cubicBezTo>
                      <a:pt x="32" y="251"/>
                      <a:pt x="48" y="253"/>
                      <a:pt x="52" y="254"/>
                    </a:cubicBezTo>
                    <a:cubicBezTo>
                      <a:pt x="51" y="256"/>
                      <a:pt x="51" y="258"/>
                      <a:pt x="51" y="261"/>
                    </a:cubicBezTo>
                    <a:cubicBezTo>
                      <a:pt x="51" y="500"/>
                      <a:pt x="51" y="500"/>
                      <a:pt x="51" y="500"/>
                    </a:cubicBezTo>
                    <a:cubicBezTo>
                      <a:pt x="51" y="500"/>
                      <a:pt x="51" y="524"/>
                      <a:pt x="66" y="524"/>
                    </a:cubicBezTo>
                    <a:cubicBezTo>
                      <a:pt x="73" y="524"/>
                      <a:pt x="73" y="524"/>
                      <a:pt x="73" y="524"/>
                    </a:cubicBezTo>
                    <a:cubicBezTo>
                      <a:pt x="73" y="524"/>
                      <a:pt x="89" y="524"/>
                      <a:pt x="89" y="500"/>
                    </a:cubicBezTo>
                    <a:cubicBezTo>
                      <a:pt x="89" y="261"/>
                      <a:pt x="89" y="261"/>
                      <a:pt x="89" y="261"/>
                    </a:cubicBezTo>
                    <a:cubicBezTo>
                      <a:pt x="89" y="261"/>
                      <a:pt x="89" y="259"/>
                      <a:pt x="88" y="256"/>
                    </a:cubicBezTo>
                    <a:cubicBezTo>
                      <a:pt x="109" y="256"/>
                      <a:pt x="109" y="256"/>
                      <a:pt x="109" y="256"/>
                    </a:cubicBezTo>
                    <a:cubicBezTo>
                      <a:pt x="109" y="258"/>
                      <a:pt x="108" y="259"/>
                      <a:pt x="108" y="261"/>
                    </a:cubicBezTo>
                    <a:cubicBezTo>
                      <a:pt x="108" y="500"/>
                      <a:pt x="108" y="500"/>
                      <a:pt x="108" y="500"/>
                    </a:cubicBezTo>
                    <a:cubicBezTo>
                      <a:pt x="108" y="500"/>
                      <a:pt x="109" y="524"/>
                      <a:pt x="125" y="524"/>
                    </a:cubicBezTo>
                    <a:cubicBezTo>
                      <a:pt x="131" y="524"/>
                      <a:pt x="131" y="524"/>
                      <a:pt x="131" y="524"/>
                    </a:cubicBezTo>
                    <a:cubicBezTo>
                      <a:pt x="131" y="524"/>
                      <a:pt x="147" y="524"/>
                      <a:pt x="147" y="500"/>
                    </a:cubicBezTo>
                    <a:cubicBezTo>
                      <a:pt x="147" y="261"/>
                      <a:pt x="147" y="261"/>
                      <a:pt x="147" y="261"/>
                    </a:cubicBezTo>
                    <a:cubicBezTo>
                      <a:pt x="147" y="261"/>
                      <a:pt x="147" y="258"/>
                      <a:pt x="145" y="253"/>
                    </a:cubicBezTo>
                    <a:cubicBezTo>
                      <a:pt x="149" y="252"/>
                      <a:pt x="165" y="251"/>
                      <a:pt x="169" y="249"/>
                    </a:cubicBezTo>
                    <a:cubicBezTo>
                      <a:pt x="169" y="277"/>
                      <a:pt x="169" y="277"/>
                      <a:pt x="169" y="277"/>
                    </a:cubicBezTo>
                    <a:cubicBezTo>
                      <a:pt x="169" y="277"/>
                      <a:pt x="169" y="289"/>
                      <a:pt x="181" y="289"/>
                    </a:cubicBezTo>
                    <a:cubicBezTo>
                      <a:pt x="186" y="289"/>
                      <a:pt x="186" y="289"/>
                      <a:pt x="186" y="289"/>
                    </a:cubicBezTo>
                    <a:cubicBezTo>
                      <a:pt x="186" y="289"/>
                      <a:pt x="198" y="289"/>
                      <a:pt x="198" y="2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9" name="Gruppieren 88">
              <a:extLst>
                <a:ext uri="{FF2B5EF4-FFF2-40B4-BE49-F238E27FC236}">
                  <a16:creationId xmlns:a16="http://schemas.microsoft.com/office/drawing/2014/main" xmlns="" id="{B6544F9A-9CD7-4AF5-8FB1-0C8B3CC4FC66}"/>
                </a:ext>
              </a:extLst>
            </p:cNvPr>
            <p:cNvGrpSpPr/>
            <p:nvPr/>
          </p:nvGrpSpPr>
          <p:grpSpPr>
            <a:xfrm>
              <a:off x="5910117" y="5886078"/>
              <a:ext cx="372377" cy="295993"/>
              <a:chOff x="9351963" y="5937250"/>
              <a:chExt cx="742950" cy="590551"/>
            </a:xfrm>
            <a:solidFill>
              <a:schemeClr val="tx2"/>
            </a:solidFill>
          </p:grpSpPr>
          <p:sp>
            <p:nvSpPr>
              <p:cNvPr id="90" name="Freeform 17">
                <a:extLst>
                  <a:ext uri="{FF2B5EF4-FFF2-40B4-BE49-F238E27FC236}">
                    <a16:creationId xmlns:a16="http://schemas.microsoft.com/office/drawing/2014/main" xmlns="" id="{77435022-D022-4DB8-B58F-C0F95D358CCA}"/>
                  </a:ext>
                </a:extLst>
              </p:cNvPr>
              <p:cNvSpPr>
                <a:spLocks noEditPoints="1"/>
              </p:cNvSpPr>
              <p:nvPr/>
            </p:nvSpPr>
            <p:spPr bwMode="auto">
              <a:xfrm>
                <a:off x="9351963" y="6097588"/>
                <a:ext cx="600075" cy="430213"/>
              </a:xfrm>
              <a:custGeom>
                <a:avLst/>
                <a:gdLst>
                  <a:gd name="T0" fmla="*/ 258 w 262"/>
                  <a:gd name="T1" fmla="*/ 94 h 187"/>
                  <a:gd name="T2" fmla="*/ 252 w 262"/>
                  <a:gd name="T3" fmla="*/ 100 h 187"/>
                  <a:gd name="T4" fmla="*/ 246 w 262"/>
                  <a:gd name="T5" fmla="*/ 94 h 187"/>
                  <a:gd name="T6" fmla="*/ 252 w 262"/>
                  <a:gd name="T7" fmla="*/ 87 h 187"/>
                  <a:gd name="T8" fmla="*/ 258 w 262"/>
                  <a:gd name="T9" fmla="*/ 94 h 187"/>
                  <a:gd name="T10" fmla="*/ 12 w 262"/>
                  <a:gd name="T11" fmla="*/ 94 h 187"/>
                  <a:gd name="T12" fmla="*/ 9 w 262"/>
                  <a:gd name="T13" fmla="*/ 96 h 187"/>
                  <a:gd name="T14" fmla="*/ 7 w 262"/>
                  <a:gd name="T15" fmla="*/ 94 h 187"/>
                  <a:gd name="T16" fmla="*/ 9 w 262"/>
                  <a:gd name="T17" fmla="*/ 91 h 187"/>
                  <a:gd name="T18" fmla="*/ 12 w 262"/>
                  <a:gd name="T19" fmla="*/ 94 h 187"/>
                  <a:gd name="T20" fmla="*/ 262 w 262"/>
                  <a:gd name="T21" fmla="*/ 166 h 187"/>
                  <a:gd name="T22" fmla="*/ 262 w 262"/>
                  <a:gd name="T23" fmla="*/ 75 h 187"/>
                  <a:gd name="T24" fmla="*/ 242 w 262"/>
                  <a:gd name="T25" fmla="*/ 75 h 187"/>
                  <a:gd name="T26" fmla="*/ 242 w 262"/>
                  <a:gd name="T27" fmla="*/ 171 h 187"/>
                  <a:gd name="T28" fmla="*/ 20 w 262"/>
                  <a:gd name="T29" fmla="*/ 171 h 187"/>
                  <a:gd name="T30" fmla="*/ 20 w 262"/>
                  <a:gd name="T31" fmla="*/ 16 h 187"/>
                  <a:gd name="T32" fmla="*/ 137 w 262"/>
                  <a:gd name="T33" fmla="*/ 16 h 187"/>
                  <a:gd name="T34" fmla="*/ 140 w 262"/>
                  <a:gd name="T35" fmla="*/ 0 h 187"/>
                  <a:gd name="T36" fmla="*/ 21 w 262"/>
                  <a:gd name="T37" fmla="*/ 0 h 187"/>
                  <a:gd name="T38" fmla="*/ 0 w 262"/>
                  <a:gd name="T39" fmla="*/ 21 h 187"/>
                  <a:gd name="T40" fmla="*/ 0 w 262"/>
                  <a:gd name="T41" fmla="*/ 166 h 187"/>
                  <a:gd name="T42" fmla="*/ 21 w 262"/>
                  <a:gd name="T43" fmla="*/ 187 h 187"/>
                  <a:gd name="T44" fmla="*/ 241 w 262"/>
                  <a:gd name="T45" fmla="*/ 187 h 187"/>
                  <a:gd name="T46" fmla="*/ 262 w 262"/>
                  <a:gd name="T47" fmla="*/ 16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187">
                    <a:moveTo>
                      <a:pt x="258" y="94"/>
                    </a:moveTo>
                    <a:cubicBezTo>
                      <a:pt x="258" y="97"/>
                      <a:pt x="256" y="100"/>
                      <a:pt x="252" y="100"/>
                    </a:cubicBezTo>
                    <a:cubicBezTo>
                      <a:pt x="249" y="100"/>
                      <a:pt x="246" y="97"/>
                      <a:pt x="246" y="94"/>
                    </a:cubicBezTo>
                    <a:cubicBezTo>
                      <a:pt x="246" y="90"/>
                      <a:pt x="249" y="87"/>
                      <a:pt x="252" y="87"/>
                    </a:cubicBezTo>
                    <a:cubicBezTo>
                      <a:pt x="256" y="87"/>
                      <a:pt x="258" y="90"/>
                      <a:pt x="258" y="94"/>
                    </a:cubicBezTo>
                    <a:moveTo>
                      <a:pt x="12" y="94"/>
                    </a:moveTo>
                    <a:cubicBezTo>
                      <a:pt x="12" y="95"/>
                      <a:pt x="11" y="96"/>
                      <a:pt x="9" y="96"/>
                    </a:cubicBezTo>
                    <a:cubicBezTo>
                      <a:pt x="8" y="96"/>
                      <a:pt x="7" y="95"/>
                      <a:pt x="7" y="94"/>
                    </a:cubicBezTo>
                    <a:cubicBezTo>
                      <a:pt x="7" y="92"/>
                      <a:pt x="8" y="91"/>
                      <a:pt x="9" y="91"/>
                    </a:cubicBezTo>
                    <a:cubicBezTo>
                      <a:pt x="11" y="91"/>
                      <a:pt x="12" y="92"/>
                      <a:pt x="12" y="94"/>
                    </a:cubicBezTo>
                    <a:moveTo>
                      <a:pt x="262" y="166"/>
                    </a:moveTo>
                    <a:cubicBezTo>
                      <a:pt x="262" y="75"/>
                      <a:pt x="262" y="75"/>
                      <a:pt x="262" y="75"/>
                    </a:cubicBezTo>
                    <a:cubicBezTo>
                      <a:pt x="242" y="75"/>
                      <a:pt x="242" y="75"/>
                      <a:pt x="242" y="75"/>
                    </a:cubicBezTo>
                    <a:cubicBezTo>
                      <a:pt x="242" y="171"/>
                      <a:pt x="242" y="171"/>
                      <a:pt x="242" y="171"/>
                    </a:cubicBezTo>
                    <a:cubicBezTo>
                      <a:pt x="20" y="171"/>
                      <a:pt x="20" y="171"/>
                      <a:pt x="20" y="171"/>
                    </a:cubicBezTo>
                    <a:cubicBezTo>
                      <a:pt x="20" y="16"/>
                      <a:pt x="20" y="16"/>
                      <a:pt x="20" y="16"/>
                    </a:cubicBezTo>
                    <a:cubicBezTo>
                      <a:pt x="137" y="16"/>
                      <a:pt x="137" y="16"/>
                      <a:pt x="137" y="16"/>
                    </a:cubicBezTo>
                    <a:cubicBezTo>
                      <a:pt x="137" y="10"/>
                      <a:pt x="137" y="5"/>
                      <a:pt x="140" y="0"/>
                    </a:cubicBezTo>
                    <a:cubicBezTo>
                      <a:pt x="21" y="0"/>
                      <a:pt x="21" y="0"/>
                      <a:pt x="21" y="0"/>
                    </a:cubicBezTo>
                    <a:cubicBezTo>
                      <a:pt x="21" y="0"/>
                      <a:pt x="0" y="0"/>
                      <a:pt x="0" y="21"/>
                    </a:cubicBezTo>
                    <a:cubicBezTo>
                      <a:pt x="0" y="166"/>
                      <a:pt x="0" y="166"/>
                      <a:pt x="0" y="166"/>
                    </a:cubicBezTo>
                    <a:cubicBezTo>
                      <a:pt x="0" y="166"/>
                      <a:pt x="0" y="187"/>
                      <a:pt x="21" y="187"/>
                    </a:cubicBezTo>
                    <a:cubicBezTo>
                      <a:pt x="241" y="187"/>
                      <a:pt x="241" y="187"/>
                      <a:pt x="241" y="187"/>
                    </a:cubicBezTo>
                    <a:cubicBezTo>
                      <a:pt x="241" y="187"/>
                      <a:pt x="262" y="187"/>
                      <a:pt x="262" y="166"/>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18">
                <a:extLst>
                  <a:ext uri="{FF2B5EF4-FFF2-40B4-BE49-F238E27FC236}">
                    <a16:creationId xmlns:a16="http://schemas.microsoft.com/office/drawing/2014/main" xmlns="" id="{A426A95B-328F-487C-BC74-4CF33E52F9FC}"/>
                  </a:ext>
                </a:extLst>
              </p:cNvPr>
              <p:cNvSpPr>
                <a:spLocks/>
              </p:cNvSpPr>
              <p:nvPr/>
            </p:nvSpPr>
            <p:spPr bwMode="auto">
              <a:xfrm>
                <a:off x="9615488" y="6019800"/>
                <a:ext cx="479425" cy="238125"/>
              </a:xfrm>
              <a:custGeom>
                <a:avLst/>
                <a:gdLst>
                  <a:gd name="T0" fmla="*/ 0 w 209"/>
                  <a:gd name="T1" fmla="*/ 78 h 104"/>
                  <a:gd name="T2" fmla="*/ 27 w 209"/>
                  <a:gd name="T3" fmla="*/ 51 h 104"/>
                  <a:gd name="T4" fmla="*/ 31 w 209"/>
                  <a:gd name="T5" fmla="*/ 51 h 104"/>
                  <a:gd name="T6" fmla="*/ 31 w 209"/>
                  <a:gd name="T7" fmla="*/ 47 h 104"/>
                  <a:gd name="T8" fmla="*/ 64 w 209"/>
                  <a:gd name="T9" fmla="*/ 14 h 104"/>
                  <a:gd name="T10" fmla="*/ 86 w 209"/>
                  <a:gd name="T11" fmla="*/ 23 h 104"/>
                  <a:gd name="T12" fmla="*/ 123 w 209"/>
                  <a:gd name="T13" fmla="*/ 0 h 104"/>
                  <a:gd name="T14" fmla="*/ 163 w 209"/>
                  <a:gd name="T15" fmla="*/ 38 h 104"/>
                  <a:gd name="T16" fmla="*/ 175 w 209"/>
                  <a:gd name="T17" fmla="*/ 35 h 104"/>
                  <a:gd name="T18" fmla="*/ 209 w 209"/>
                  <a:gd name="T19" fmla="*/ 70 h 104"/>
                  <a:gd name="T20" fmla="*/ 178 w 209"/>
                  <a:gd name="T21" fmla="*/ 104 h 104"/>
                  <a:gd name="T22" fmla="*/ 178 w 209"/>
                  <a:gd name="T23" fmla="*/ 104 h 104"/>
                  <a:gd name="T24" fmla="*/ 178 w 209"/>
                  <a:gd name="T25" fmla="*/ 104 h 104"/>
                  <a:gd name="T26" fmla="*/ 175 w 209"/>
                  <a:gd name="T27" fmla="*/ 104 h 104"/>
                  <a:gd name="T28" fmla="*/ 172 w 209"/>
                  <a:gd name="T29" fmla="*/ 104 h 104"/>
                  <a:gd name="T30" fmla="*/ 26 w 209"/>
                  <a:gd name="T31" fmla="*/ 104 h 104"/>
                  <a:gd name="T32" fmla="*/ 26 w 209"/>
                  <a:gd name="T33" fmla="*/ 104 h 104"/>
                  <a:gd name="T34" fmla="*/ 0 w 209"/>
                  <a:gd name="T35" fmla="*/ 7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04">
                    <a:moveTo>
                      <a:pt x="0" y="78"/>
                    </a:moveTo>
                    <a:cubicBezTo>
                      <a:pt x="0" y="63"/>
                      <a:pt x="12" y="51"/>
                      <a:pt x="27" y="51"/>
                    </a:cubicBezTo>
                    <a:cubicBezTo>
                      <a:pt x="28" y="51"/>
                      <a:pt x="30" y="51"/>
                      <a:pt x="31" y="51"/>
                    </a:cubicBezTo>
                    <a:cubicBezTo>
                      <a:pt x="31" y="50"/>
                      <a:pt x="31" y="49"/>
                      <a:pt x="31" y="47"/>
                    </a:cubicBezTo>
                    <a:cubicBezTo>
                      <a:pt x="31" y="29"/>
                      <a:pt x="46" y="14"/>
                      <a:pt x="64" y="14"/>
                    </a:cubicBezTo>
                    <a:cubicBezTo>
                      <a:pt x="73" y="14"/>
                      <a:pt x="81" y="18"/>
                      <a:pt x="86" y="23"/>
                    </a:cubicBezTo>
                    <a:cubicBezTo>
                      <a:pt x="93" y="10"/>
                      <a:pt x="107" y="0"/>
                      <a:pt x="123" y="0"/>
                    </a:cubicBezTo>
                    <a:cubicBezTo>
                      <a:pt x="144" y="0"/>
                      <a:pt x="162" y="17"/>
                      <a:pt x="163" y="38"/>
                    </a:cubicBezTo>
                    <a:cubicBezTo>
                      <a:pt x="167" y="36"/>
                      <a:pt x="171" y="35"/>
                      <a:pt x="175" y="35"/>
                    </a:cubicBezTo>
                    <a:cubicBezTo>
                      <a:pt x="194" y="35"/>
                      <a:pt x="209" y="51"/>
                      <a:pt x="209" y="70"/>
                    </a:cubicBezTo>
                    <a:cubicBezTo>
                      <a:pt x="209" y="88"/>
                      <a:pt x="195" y="103"/>
                      <a:pt x="178" y="104"/>
                    </a:cubicBezTo>
                    <a:cubicBezTo>
                      <a:pt x="178" y="104"/>
                      <a:pt x="178" y="104"/>
                      <a:pt x="178" y="104"/>
                    </a:cubicBezTo>
                    <a:cubicBezTo>
                      <a:pt x="178" y="104"/>
                      <a:pt x="178" y="104"/>
                      <a:pt x="178" y="104"/>
                    </a:cubicBezTo>
                    <a:cubicBezTo>
                      <a:pt x="177" y="104"/>
                      <a:pt x="176" y="104"/>
                      <a:pt x="175" y="104"/>
                    </a:cubicBezTo>
                    <a:cubicBezTo>
                      <a:pt x="174" y="104"/>
                      <a:pt x="173" y="104"/>
                      <a:pt x="172" y="104"/>
                    </a:cubicBezTo>
                    <a:cubicBezTo>
                      <a:pt x="26" y="104"/>
                      <a:pt x="26" y="104"/>
                      <a:pt x="26" y="104"/>
                    </a:cubicBezTo>
                    <a:cubicBezTo>
                      <a:pt x="26" y="104"/>
                      <a:pt x="26" y="104"/>
                      <a:pt x="26" y="104"/>
                    </a:cubicBezTo>
                    <a:cubicBezTo>
                      <a:pt x="12" y="103"/>
                      <a:pt x="0" y="92"/>
                      <a:pt x="0" y="78"/>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19">
                <a:extLst>
                  <a:ext uri="{FF2B5EF4-FFF2-40B4-BE49-F238E27FC236}">
                    <a16:creationId xmlns:a16="http://schemas.microsoft.com/office/drawing/2014/main" xmlns="" id="{1176495A-E632-454D-AF69-38844F105788}"/>
                  </a:ext>
                </a:extLst>
              </p:cNvPr>
              <p:cNvSpPr>
                <a:spLocks/>
              </p:cNvSpPr>
              <p:nvPr/>
            </p:nvSpPr>
            <p:spPr bwMode="auto">
              <a:xfrm>
                <a:off x="9755188" y="5937250"/>
                <a:ext cx="307975" cy="158750"/>
              </a:xfrm>
              <a:custGeom>
                <a:avLst/>
                <a:gdLst>
                  <a:gd name="T0" fmla="*/ 131 w 134"/>
                  <a:gd name="T1" fmla="*/ 69 h 69"/>
                  <a:gd name="T2" fmla="*/ 134 w 134"/>
                  <a:gd name="T3" fmla="*/ 58 h 69"/>
                  <a:gd name="T4" fmla="*/ 110 w 134"/>
                  <a:gd name="T5" fmla="*/ 35 h 69"/>
                  <a:gd name="T6" fmla="*/ 109 w 134"/>
                  <a:gd name="T7" fmla="*/ 35 h 69"/>
                  <a:gd name="T8" fmla="*/ 73 w 134"/>
                  <a:gd name="T9" fmla="*/ 0 h 69"/>
                  <a:gd name="T10" fmla="*/ 41 w 134"/>
                  <a:gd name="T11" fmla="*/ 19 h 69"/>
                  <a:gd name="T12" fmla="*/ 30 w 134"/>
                  <a:gd name="T13" fmla="*/ 17 h 69"/>
                  <a:gd name="T14" fmla="*/ 0 w 134"/>
                  <a:gd name="T15" fmla="*/ 44 h 69"/>
                  <a:gd name="T16" fmla="*/ 3 w 134"/>
                  <a:gd name="T17" fmla="*/ 44 h 69"/>
                  <a:gd name="T18" fmla="*/ 24 w 134"/>
                  <a:gd name="T19" fmla="*/ 51 h 69"/>
                  <a:gd name="T20" fmla="*/ 62 w 134"/>
                  <a:gd name="T21" fmla="*/ 29 h 69"/>
                  <a:gd name="T22" fmla="*/ 105 w 134"/>
                  <a:gd name="T23" fmla="*/ 67 h 69"/>
                  <a:gd name="T24" fmla="*/ 117 w 134"/>
                  <a:gd name="T25" fmla="*/ 65 h 69"/>
                  <a:gd name="T26" fmla="*/ 131 w 134"/>
                  <a:gd name="T2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4" h="69">
                    <a:moveTo>
                      <a:pt x="131" y="69"/>
                    </a:moveTo>
                    <a:cubicBezTo>
                      <a:pt x="133" y="66"/>
                      <a:pt x="134" y="62"/>
                      <a:pt x="134" y="58"/>
                    </a:cubicBezTo>
                    <a:cubicBezTo>
                      <a:pt x="134" y="45"/>
                      <a:pt x="123" y="35"/>
                      <a:pt x="110" y="35"/>
                    </a:cubicBezTo>
                    <a:cubicBezTo>
                      <a:pt x="110" y="35"/>
                      <a:pt x="109" y="35"/>
                      <a:pt x="109" y="35"/>
                    </a:cubicBezTo>
                    <a:cubicBezTo>
                      <a:pt x="109" y="16"/>
                      <a:pt x="93" y="0"/>
                      <a:pt x="73" y="0"/>
                    </a:cubicBezTo>
                    <a:cubicBezTo>
                      <a:pt x="59" y="0"/>
                      <a:pt x="47" y="8"/>
                      <a:pt x="41" y="19"/>
                    </a:cubicBezTo>
                    <a:cubicBezTo>
                      <a:pt x="38" y="18"/>
                      <a:pt x="34" y="17"/>
                      <a:pt x="30" y="17"/>
                    </a:cubicBezTo>
                    <a:cubicBezTo>
                      <a:pt x="14" y="17"/>
                      <a:pt x="1" y="29"/>
                      <a:pt x="0" y="44"/>
                    </a:cubicBezTo>
                    <a:cubicBezTo>
                      <a:pt x="1" y="44"/>
                      <a:pt x="2" y="44"/>
                      <a:pt x="3" y="44"/>
                    </a:cubicBezTo>
                    <a:cubicBezTo>
                      <a:pt x="12" y="44"/>
                      <a:pt x="18" y="46"/>
                      <a:pt x="24" y="51"/>
                    </a:cubicBezTo>
                    <a:cubicBezTo>
                      <a:pt x="31" y="38"/>
                      <a:pt x="46" y="29"/>
                      <a:pt x="62" y="29"/>
                    </a:cubicBezTo>
                    <a:cubicBezTo>
                      <a:pt x="83" y="29"/>
                      <a:pt x="103" y="46"/>
                      <a:pt x="105" y="67"/>
                    </a:cubicBezTo>
                    <a:cubicBezTo>
                      <a:pt x="109" y="65"/>
                      <a:pt x="113" y="65"/>
                      <a:pt x="117" y="65"/>
                    </a:cubicBezTo>
                    <a:cubicBezTo>
                      <a:pt x="123" y="65"/>
                      <a:pt x="126" y="66"/>
                      <a:pt x="131" y="6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20">
                <a:extLst>
                  <a:ext uri="{FF2B5EF4-FFF2-40B4-BE49-F238E27FC236}">
                    <a16:creationId xmlns:a16="http://schemas.microsoft.com/office/drawing/2014/main" xmlns="" id="{581D0BE0-E973-4EAD-BC20-E53A662400C9}"/>
                  </a:ext>
                </a:extLst>
              </p:cNvPr>
              <p:cNvSpPr>
                <a:spLocks/>
              </p:cNvSpPr>
              <p:nvPr/>
            </p:nvSpPr>
            <p:spPr bwMode="auto">
              <a:xfrm>
                <a:off x="9409113" y="6143625"/>
                <a:ext cx="485775" cy="338138"/>
              </a:xfrm>
              <a:custGeom>
                <a:avLst/>
                <a:gdLst>
                  <a:gd name="T0" fmla="*/ 95 w 212"/>
                  <a:gd name="T1" fmla="*/ 0 h 147"/>
                  <a:gd name="T2" fmla="*/ 0 w 212"/>
                  <a:gd name="T3" fmla="*/ 0 h 147"/>
                  <a:gd name="T4" fmla="*/ 0 w 212"/>
                  <a:gd name="T5" fmla="*/ 147 h 147"/>
                  <a:gd name="T6" fmla="*/ 212 w 212"/>
                  <a:gd name="T7" fmla="*/ 147 h 147"/>
                  <a:gd name="T8" fmla="*/ 212 w 212"/>
                  <a:gd name="T9" fmla="*/ 56 h 147"/>
                  <a:gd name="T10" fmla="*/ 110 w 212"/>
                  <a:gd name="T11" fmla="*/ 56 h 147"/>
                  <a:gd name="T12" fmla="*/ 88 w 212"/>
                  <a:gd name="T13" fmla="*/ 44 h 147"/>
                  <a:gd name="T14" fmla="*/ 82 w 212"/>
                  <a:gd name="T15" fmla="*/ 27 h 147"/>
                  <a:gd name="T16" fmla="*/ 86 w 212"/>
                  <a:gd name="T17" fmla="*/ 9 h 147"/>
                  <a:gd name="T18" fmla="*/ 95 w 212"/>
                  <a:gd name="T1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147">
                    <a:moveTo>
                      <a:pt x="95" y="0"/>
                    </a:moveTo>
                    <a:cubicBezTo>
                      <a:pt x="0" y="0"/>
                      <a:pt x="0" y="0"/>
                      <a:pt x="0" y="0"/>
                    </a:cubicBezTo>
                    <a:cubicBezTo>
                      <a:pt x="0" y="147"/>
                      <a:pt x="0" y="147"/>
                      <a:pt x="0" y="147"/>
                    </a:cubicBezTo>
                    <a:cubicBezTo>
                      <a:pt x="212" y="147"/>
                      <a:pt x="212" y="147"/>
                      <a:pt x="212" y="147"/>
                    </a:cubicBezTo>
                    <a:cubicBezTo>
                      <a:pt x="212" y="56"/>
                      <a:pt x="212" y="56"/>
                      <a:pt x="212" y="56"/>
                    </a:cubicBezTo>
                    <a:cubicBezTo>
                      <a:pt x="110" y="56"/>
                      <a:pt x="110" y="56"/>
                      <a:pt x="110" y="56"/>
                    </a:cubicBezTo>
                    <a:cubicBezTo>
                      <a:pt x="101" y="56"/>
                      <a:pt x="92" y="51"/>
                      <a:pt x="88" y="44"/>
                    </a:cubicBezTo>
                    <a:cubicBezTo>
                      <a:pt x="85" y="40"/>
                      <a:pt x="82" y="34"/>
                      <a:pt x="82" y="27"/>
                    </a:cubicBezTo>
                    <a:cubicBezTo>
                      <a:pt x="81" y="20"/>
                      <a:pt x="83" y="15"/>
                      <a:pt x="86" y="9"/>
                    </a:cubicBezTo>
                    <a:cubicBezTo>
                      <a:pt x="89" y="3"/>
                      <a:pt x="93" y="1"/>
                      <a:pt x="95" y="0"/>
                    </a:cubicBezTo>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24">
              <a:extLst>
                <a:ext uri="{FF2B5EF4-FFF2-40B4-BE49-F238E27FC236}">
                  <a16:creationId xmlns:a16="http://schemas.microsoft.com/office/drawing/2014/main" xmlns="" id="{DD9109E7-7149-4C00-97D3-17EC3C2892CB}"/>
                </a:ext>
              </a:extLst>
            </p:cNvPr>
            <p:cNvSpPr>
              <a:spLocks noEditPoints="1"/>
            </p:cNvSpPr>
            <p:nvPr/>
          </p:nvSpPr>
          <p:spPr bwMode="auto">
            <a:xfrm>
              <a:off x="8052054" y="4518123"/>
              <a:ext cx="301461" cy="486696"/>
            </a:xfrm>
            <a:custGeom>
              <a:avLst/>
              <a:gdLst>
                <a:gd name="T0" fmla="*/ 246 w 403"/>
                <a:gd name="T1" fmla="*/ 653 h 653"/>
                <a:gd name="T2" fmla="*/ 246 w 403"/>
                <a:gd name="T3" fmla="*/ 549 h 653"/>
                <a:gd name="T4" fmla="*/ 149 w 403"/>
                <a:gd name="T5" fmla="*/ 65 h 653"/>
                <a:gd name="T6" fmla="*/ 49 w 403"/>
                <a:gd name="T7" fmla="*/ 65 h 653"/>
                <a:gd name="T8" fmla="*/ 149 w 403"/>
                <a:gd name="T9" fmla="*/ 65 h 653"/>
                <a:gd name="T10" fmla="*/ 331 w 403"/>
                <a:gd name="T11" fmla="*/ 278 h 653"/>
                <a:gd name="T12" fmla="*/ 331 w 403"/>
                <a:gd name="T13" fmla="*/ 370 h 653"/>
                <a:gd name="T14" fmla="*/ 403 w 403"/>
                <a:gd name="T15" fmla="*/ 503 h 653"/>
                <a:gd name="T16" fmla="*/ 360 w 403"/>
                <a:gd name="T17" fmla="*/ 370 h 653"/>
                <a:gd name="T18" fmla="*/ 331 w 403"/>
                <a:gd name="T19" fmla="*/ 386 h 653"/>
                <a:gd name="T20" fmla="*/ 301 w 403"/>
                <a:gd name="T21" fmla="*/ 370 h 653"/>
                <a:gd name="T22" fmla="*/ 217 w 403"/>
                <a:gd name="T23" fmla="*/ 402 h 653"/>
                <a:gd name="T24" fmla="*/ 141 w 403"/>
                <a:gd name="T25" fmla="*/ 129 h 653"/>
                <a:gd name="T26" fmla="*/ 99 w 403"/>
                <a:gd name="T27" fmla="*/ 151 h 653"/>
                <a:gd name="T28" fmla="*/ 57 w 403"/>
                <a:gd name="T29" fmla="*/ 129 h 653"/>
                <a:gd name="T30" fmla="*/ 0 w 403"/>
                <a:gd name="T31" fmla="*/ 406 h 653"/>
                <a:gd name="T32" fmla="*/ 17 w 403"/>
                <a:gd name="T33" fmla="*/ 418 h 653"/>
                <a:gd name="T34" fmla="*/ 29 w 403"/>
                <a:gd name="T35" fmla="*/ 378 h 653"/>
                <a:gd name="T36" fmla="*/ 51 w 403"/>
                <a:gd name="T37" fmla="*/ 390 h 653"/>
                <a:gd name="T38" fmla="*/ 67 w 403"/>
                <a:gd name="T39" fmla="*/ 653 h 653"/>
                <a:gd name="T40" fmla="*/ 89 w 403"/>
                <a:gd name="T41" fmla="*/ 629 h 653"/>
                <a:gd name="T42" fmla="*/ 89 w 403"/>
                <a:gd name="T43" fmla="*/ 385 h 653"/>
                <a:gd name="T44" fmla="*/ 109 w 403"/>
                <a:gd name="T45" fmla="*/ 390 h 653"/>
                <a:gd name="T46" fmla="*/ 125 w 403"/>
                <a:gd name="T47" fmla="*/ 653 h 653"/>
                <a:gd name="T48" fmla="*/ 147 w 403"/>
                <a:gd name="T49" fmla="*/ 629 h 653"/>
                <a:gd name="T50" fmla="*/ 145 w 403"/>
                <a:gd name="T51" fmla="*/ 382 h 653"/>
                <a:gd name="T52" fmla="*/ 170 w 403"/>
                <a:gd name="T53" fmla="*/ 296 h 653"/>
                <a:gd name="T54" fmla="*/ 200 w 403"/>
                <a:gd name="T55" fmla="*/ 418 h 653"/>
                <a:gd name="T56" fmla="*/ 203 w 403"/>
                <a:gd name="T57" fmla="*/ 418 h 653"/>
                <a:gd name="T58" fmla="*/ 290 w 403"/>
                <a:gd name="T59" fmla="*/ 432 h 653"/>
                <a:gd name="T60" fmla="*/ 305 w 403"/>
                <a:gd name="T61" fmla="*/ 541 h 653"/>
                <a:gd name="T62" fmla="*/ 313 w 403"/>
                <a:gd name="T63" fmla="*/ 653 h 653"/>
                <a:gd name="T64" fmla="*/ 326 w 403"/>
                <a:gd name="T65" fmla="*/ 636 h 653"/>
                <a:gd name="T66" fmla="*/ 335 w 403"/>
                <a:gd name="T67" fmla="*/ 541 h 653"/>
                <a:gd name="T68" fmla="*/ 346 w 403"/>
                <a:gd name="T69" fmla="*/ 653 h 653"/>
                <a:gd name="T70" fmla="*/ 356 w 403"/>
                <a:gd name="T71" fmla="*/ 636 h 653"/>
                <a:gd name="T72" fmla="*/ 380 w 403"/>
                <a:gd name="T73" fmla="*/ 529 h 653"/>
                <a:gd name="T74" fmla="*/ 372 w 403"/>
                <a:gd name="T75" fmla="*/ 445 h 653"/>
                <a:gd name="T76" fmla="*/ 395 w 403"/>
                <a:gd name="T77" fmla="*/ 517 h 653"/>
                <a:gd name="T78" fmla="*/ 403 w 403"/>
                <a:gd name="T79" fmla="*/ 50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653">
                  <a:moveTo>
                    <a:pt x="194" y="601"/>
                  </a:moveTo>
                  <a:cubicBezTo>
                    <a:pt x="194" y="630"/>
                    <a:pt x="217" y="653"/>
                    <a:pt x="246" y="653"/>
                  </a:cubicBezTo>
                  <a:cubicBezTo>
                    <a:pt x="275" y="653"/>
                    <a:pt x="298" y="630"/>
                    <a:pt x="298" y="601"/>
                  </a:cubicBezTo>
                  <a:cubicBezTo>
                    <a:pt x="298" y="572"/>
                    <a:pt x="275" y="549"/>
                    <a:pt x="246" y="549"/>
                  </a:cubicBezTo>
                  <a:cubicBezTo>
                    <a:pt x="217" y="549"/>
                    <a:pt x="194" y="572"/>
                    <a:pt x="194" y="601"/>
                  </a:cubicBezTo>
                  <a:moveTo>
                    <a:pt x="149" y="65"/>
                  </a:moveTo>
                  <a:cubicBezTo>
                    <a:pt x="149" y="29"/>
                    <a:pt x="127" y="0"/>
                    <a:pt x="99" y="0"/>
                  </a:cubicBezTo>
                  <a:cubicBezTo>
                    <a:pt x="71" y="0"/>
                    <a:pt x="49" y="29"/>
                    <a:pt x="49" y="65"/>
                  </a:cubicBezTo>
                  <a:cubicBezTo>
                    <a:pt x="49" y="100"/>
                    <a:pt x="71" y="129"/>
                    <a:pt x="99" y="129"/>
                  </a:cubicBezTo>
                  <a:cubicBezTo>
                    <a:pt x="127" y="129"/>
                    <a:pt x="149" y="100"/>
                    <a:pt x="149" y="65"/>
                  </a:cubicBezTo>
                  <a:moveTo>
                    <a:pt x="366" y="324"/>
                  </a:moveTo>
                  <a:cubicBezTo>
                    <a:pt x="366" y="299"/>
                    <a:pt x="350" y="278"/>
                    <a:pt x="331" y="278"/>
                  </a:cubicBezTo>
                  <a:cubicBezTo>
                    <a:pt x="311" y="278"/>
                    <a:pt x="295" y="299"/>
                    <a:pt x="295" y="324"/>
                  </a:cubicBezTo>
                  <a:cubicBezTo>
                    <a:pt x="295" y="350"/>
                    <a:pt x="311" y="370"/>
                    <a:pt x="331" y="370"/>
                  </a:cubicBezTo>
                  <a:cubicBezTo>
                    <a:pt x="350" y="370"/>
                    <a:pt x="366" y="350"/>
                    <a:pt x="366" y="324"/>
                  </a:cubicBezTo>
                  <a:moveTo>
                    <a:pt x="403" y="503"/>
                  </a:moveTo>
                  <a:cubicBezTo>
                    <a:pt x="387" y="399"/>
                    <a:pt x="387" y="399"/>
                    <a:pt x="387" y="399"/>
                  </a:cubicBezTo>
                  <a:cubicBezTo>
                    <a:pt x="387" y="389"/>
                    <a:pt x="376" y="370"/>
                    <a:pt x="360" y="370"/>
                  </a:cubicBezTo>
                  <a:cubicBezTo>
                    <a:pt x="360" y="370"/>
                    <a:pt x="360" y="370"/>
                    <a:pt x="360" y="370"/>
                  </a:cubicBezTo>
                  <a:cubicBezTo>
                    <a:pt x="352" y="380"/>
                    <a:pt x="342" y="386"/>
                    <a:pt x="331" y="386"/>
                  </a:cubicBezTo>
                  <a:cubicBezTo>
                    <a:pt x="327" y="386"/>
                    <a:pt x="309" y="380"/>
                    <a:pt x="301" y="370"/>
                  </a:cubicBezTo>
                  <a:cubicBezTo>
                    <a:pt x="301" y="370"/>
                    <a:pt x="301" y="370"/>
                    <a:pt x="301" y="370"/>
                  </a:cubicBezTo>
                  <a:cubicBezTo>
                    <a:pt x="301" y="370"/>
                    <a:pt x="292" y="384"/>
                    <a:pt x="272" y="396"/>
                  </a:cubicBezTo>
                  <a:cubicBezTo>
                    <a:pt x="272" y="396"/>
                    <a:pt x="255" y="407"/>
                    <a:pt x="217" y="402"/>
                  </a:cubicBezTo>
                  <a:cubicBezTo>
                    <a:pt x="192" y="159"/>
                    <a:pt x="192" y="159"/>
                    <a:pt x="192" y="159"/>
                  </a:cubicBezTo>
                  <a:cubicBezTo>
                    <a:pt x="191" y="144"/>
                    <a:pt x="164" y="129"/>
                    <a:pt x="141" y="129"/>
                  </a:cubicBezTo>
                  <a:cubicBezTo>
                    <a:pt x="140" y="129"/>
                    <a:pt x="140" y="129"/>
                    <a:pt x="140" y="129"/>
                  </a:cubicBezTo>
                  <a:cubicBezTo>
                    <a:pt x="130" y="143"/>
                    <a:pt x="115" y="151"/>
                    <a:pt x="99" y="151"/>
                  </a:cubicBezTo>
                  <a:cubicBezTo>
                    <a:pt x="83" y="151"/>
                    <a:pt x="68" y="143"/>
                    <a:pt x="58" y="129"/>
                  </a:cubicBezTo>
                  <a:cubicBezTo>
                    <a:pt x="57" y="129"/>
                    <a:pt x="57" y="129"/>
                    <a:pt x="57" y="129"/>
                  </a:cubicBezTo>
                  <a:cubicBezTo>
                    <a:pt x="57" y="129"/>
                    <a:pt x="6" y="139"/>
                    <a:pt x="6" y="159"/>
                  </a:cubicBezTo>
                  <a:cubicBezTo>
                    <a:pt x="0" y="406"/>
                    <a:pt x="0" y="406"/>
                    <a:pt x="0" y="406"/>
                  </a:cubicBezTo>
                  <a:cubicBezTo>
                    <a:pt x="0" y="406"/>
                    <a:pt x="0" y="418"/>
                    <a:pt x="12" y="418"/>
                  </a:cubicBezTo>
                  <a:cubicBezTo>
                    <a:pt x="17" y="418"/>
                    <a:pt x="17" y="418"/>
                    <a:pt x="17" y="418"/>
                  </a:cubicBezTo>
                  <a:cubicBezTo>
                    <a:pt x="17" y="418"/>
                    <a:pt x="29" y="418"/>
                    <a:pt x="29" y="406"/>
                  </a:cubicBezTo>
                  <a:cubicBezTo>
                    <a:pt x="29" y="378"/>
                    <a:pt x="29" y="378"/>
                    <a:pt x="29" y="378"/>
                  </a:cubicBezTo>
                  <a:cubicBezTo>
                    <a:pt x="32" y="380"/>
                    <a:pt x="48" y="382"/>
                    <a:pt x="52" y="383"/>
                  </a:cubicBezTo>
                  <a:cubicBezTo>
                    <a:pt x="51" y="385"/>
                    <a:pt x="51" y="387"/>
                    <a:pt x="51" y="390"/>
                  </a:cubicBezTo>
                  <a:cubicBezTo>
                    <a:pt x="51" y="629"/>
                    <a:pt x="51" y="629"/>
                    <a:pt x="51" y="629"/>
                  </a:cubicBezTo>
                  <a:cubicBezTo>
                    <a:pt x="51" y="629"/>
                    <a:pt x="51" y="653"/>
                    <a:pt x="67" y="653"/>
                  </a:cubicBezTo>
                  <a:cubicBezTo>
                    <a:pt x="73" y="653"/>
                    <a:pt x="73" y="653"/>
                    <a:pt x="73" y="653"/>
                  </a:cubicBezTo>
                  <a:cubicBezTo>
                    <a:pt x="73" y="653"/>
                    <a:pt x="89" y="653"/>
                    <a:pt x="89" y="629"/>
                  </a:cubicBezTo>
                  <a:cubicBezTo>
                    <a:pt x="89" y="390"/>
                    <a:pt x="89" y="390"/>
                    <a:pt x="89" y="390"/>
                  </a:cubicBezTo>
                  <a:cubicBezTo>
                    <a:pt x="89" y="390"/>
                    <a:pt x="89" y="388"/>
                    <a:pt x="89" y="385"/>
                  </a:cubicBezTo>
                  <a:cubicBezTo>
                    <a:pt x="109" y="385"/>
                    <a:pt x="109" y="385"/>
                    <a:pt x="109" y="385"/>
                  </a:cubicBezTo>
                  <a:cubicBezTo>
                    <a:pt x="109" y="387"/>
                    <a:pt x="109" y="388"/>
                    <a:pt x="109" y="390"/>
                  </a:cubicBezTo>
                  <a:cubicBezTo>
                    <a:pt x="109" y="629"/>
                    <a:pt x="109" y="629"/>
                    <a:pt x="109" y="629"/>
                  </a:cubicBezTo>
                  <a:cubicBezTo>
                    <a:pt x="109" y="629"/>
                    <a:pt x="109" y="653"/>
                    <a:pt x="125" y="653"/>
                  </a:cubicBezTo>
                  <a:cubicBezTo>
                    <a:pt x="131" y="653"/>
                    <a:pt x="131" y="653"/>
                    <a:pt x="131" y="653"/>
                  </a:cubicBezTo>
                  <a:cubicBezTo>
                    <a:pt x="131" y="653"/>
                    <a:pt x="147" y="653"/>
                    <a:pt x="147" y="629"/>
                  </a:cubicBezTo>
                  <a:cubicBezTo>
                    <a:pt x="147" y="390"/>
                    <a:pt x="147" y="390"/>
                    <a:pt x="147" y="390"/>
                  </a:cubicBezTo>
                  <a:cubicBezTo>
                    <a:pt x="147" y="390"/>
                    <a:pt x="147" y="387"/>
                    <a:pt x="145" y="382"/>
                  </a:cubicBezTo>
                  <a:cubicBezTo>
                    <a:pt x="149" y="381"/>
                    <a:pt x="163" y="380"/>
                    <a:pt x="167" y="378"/>
                  </a:cubicBezTo>
                  <a:cubicBezTo>
                    <a:pt x="170" y="296"/>
                    <a:pt x="170" y="296"/>
                    <a:pt x="170" y="296"/>
                  </a:cubicBezTo>
                  <a:cubicBezTo>
                    <a:pt x="170" y="296"/>
                    <a:pt x="188" y="404"/>
                    <a:pt x="189" y="408"/>
                  </a:cubicBezTo>
                  <a:cubicBezTo>
                    <a:pt x="190" y="416"/>
                    <a:pt x="197" y="418"/>
                    <a:pt x="200" y="418"/>
                  </a:cubicBezTo>
                  <a:cubicBezTo>
                    <a:pt x="202" y="418"/>
                    <a:pt x="202" y="418"/>
                    <a:pt x="202" y="418"/>
                  </a:cubicBezTo>
                  <a:cubicBezTo>
                    <a:pt x="203" y="418"/>
                    <a:pt x="203" y="418"/>
                    <a:pt x="203" y="418"/>
                  </a:cubicBezTo>
                  <a:cubicBezTo>
                    <a:pt x="203" y="418"/>
                    <a:pt x="219" y="422"/>
                    <a:pt x="240" y="427"/>
                  </a:cubicBezTo>
                  <a:cubicBezTo>
                    <a:pt x="240" y="427"/>
                    <a:pt x="276" y="432"/>
                    <a:pt x="290" y="432"/>
                  </a:cubicBezTo>
                  <a:cubicBezTo>
                    <a:pt x="281" y="529"/>
                    <a:pt x="281" y="529"/>
                    <a:pt x="281" y="529"/>
                  </a:cubicBezTo>
                  <a:cubicBezTo>
                    <a:pt x="305" y="541"/>
                    <a:pt x="305" y="541"/>
                    <a:pt x="305" y="541"/>
                  </a:cubicBezTo>
                  <a:cubicBezTo>
                    <a:pt x="305" y="636"/>
                    <a:pt x="305" y="636"/>
                    <a:pt x="305" y="636"/>
                  </a:cubicBezTo>
                  <a:cubicBezTo>
                    <a:pt x="305" y="636"/>
                    <a:pt x="302" y="653"/>
                    <a:pt x="313" y="653"/>
                  </a:cubicBezTo>
                  <a:cubicBezTo>
                    <a:pt x="318" y="653"/>
                    <a:pt x="318" y="653"/>
                    <a:pt x="318" y="653"/>
                  </a:cubicBezTo>
                  <a:cubicBezTo>
                    <a:pt x="318" y="653"/>
                    <a:pt x="326" y="653"/>
                    <a:pt x="326" y="636"/>
                  </a:cubicBezTo>
                  <a:cubicBezTo>
                    <a:pt x="326" y="541"/>
                    <a:pt x="326" y="541"/>
                    <a:pt x="326" y="541"/>
                  </a:cubicBezTo>
                  <a:cubicBezTo>
                    <a:pt x="335" y="541"/>
                    <a:pt x="335" y="541"/>
                    <a:pt x="335" y="541"/>
                  </a:cubicBezTo>
                  <a:cubicBezTo>
                    <a:pt x="335" y="636"/>
                    <a:pt x="335" y="636"/>
                    <a:pt x="335" y="636"/>
                  </a:cubicBezTo>
                  <a:cubicBezTo>
                    <a:pt x="335" y="636"/>
                    <a:pt x="335" y="653"/>
                    <a:pt x="346" y="653"/>
                  </a:cubicBezTo>
                  <a:cubicBezTo>
                    <a:pt x="351" y="653"/>
                    <a:pt x="351" y="653"/>
                    <a:pt x="351" y="653"/>
                  </a:cubicBezTo>
                  <a:cubicBezTo>
                    <a:pt x="351" y="653"/>
                    <a:pt x="356" y="653"/>
                    <a:pt x="356" y="636"/>
                  </a:cubicBezTo>
                  <a:cubicBezTo>
                    <a:pt x="356" y="541"/>
                    <a:pt x="356" y="541"/>
                    <a:pt x="356" y="541"/>
                  </a:cubicBezTo>
                  <a:cubicBezTo>
                    <a:pt x="380" y="529"/>
                    <a:pt x="380" y="529"/>
                    <a:pt x="380" y="529"/>
                  </a:cubicBezTo>
                  <a:cubicBezTo>
                    <a:pt x="371" y="446"/>
                    <a:pt x="371" y="446"/>
                    <a:pt x="371" y="446"/>
                  </a:cubicBezTo>
                  <a:cubicBezTo>
                    <a:pt x="371" y="445"/>
                    <a:pt x="372" y="445"/>
                    <a:pt x="372" y="445"/>
                  </a:cubicBezTo>
                  <a:cubicBezTo>
                    <a:pt x="385" y="509"/>
                    <a:pt x="385" y="509"/>
                    <a:pt x="385" y="509"/>
                  </a:cubicBezTo>
                  <a:cubicBezTo>
                    <a:pt x="385" y="509"/>
                    <a:pt x="387" y="517"/>
                    <a:pt x="395" y="517"/>
                  </a:cubicBezTo>
                  <a:cubicBezTo>
                    <a:pt x="399" y="516"/>
                    <a:pt x="399" y="516"/>
                    <a:pt x="399" y="516"/>
                  </a:cubicBezTo>
                  <a:cubicBezTo>
                    <a:pt x="399" y="516"/>
                    <a:pt x="403" y="512"/>
                    <a:pt x="403" y="503"/>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28">
              <a:extLst>
                <a:ext uri="{FF2B5EF4-FFF2-40B4-BE49-F238E27FC236}">
                  <a16:creationId xmlns:a16="http://schemas.microsoft.com/office/drawing/2014/main" xmlns="" id="{FDA760FA-6AA1-4370-823A-F7B9810BE09C}"/>
                </a:ext>
              </a:extLst>
            </p:cNvPr>
            <p:cNvSpPr>
              <a:spLocks/>
            </p:cNvSpPr>
            <p:nvPr/>
          </p:nvSpPr>
          <p:spPr bwMode="auto">
            <a:xfrm>
              <a:off x="7646986" y="2150475"/>
              <a:ext cx="436172" cy="335323"/>
            </a:xfrm>
            <a:custGeom>
              <a:avLst/>
              <a:gdLst>
                <a:gd name="T0" fmla="*/ 645 w 692"/>
                <a:gd name="T1" fmla="*/ 503 h 532"/>
                <a:gd name="T2" fmla="*/ 645 w 692"/>
                <a:gd name="T3" fmla="*/ 0 h 532"/>
                <a:gd name="T4" fmla="*/ 527 w 692"/>
                <a:gd name="T5" fmla="*/ 0 h 532"/>
                <a:gd name="T6" fmla="*/ 527 w 692"/>
                <a:gd name="T7" fmla="*/ 503 h 532"/>
                <a:gd name="T8" fmla="*/ 487 w 692"/>
                <a:gd name="T9" fmla="*/ 503 h 532"/>
                <a:gd name="T10" fmla="*/ 487 w 692"/>
                <a:gd name="T11" fmla="*/ 164 h 532"/>
                <a:gd name="T12" fmla="*/ 369 w 692"/>
                <a:gd name="T13" fmla="*/ 164 h 532"/>
                <a:gd name="T14" fmla="*/ 369 w 692"/>
                <a:gd name="T15" fmla="*/ 503 h 532"/>
                <a:gd name="T16" fmla="*/ 328 w 692"/>
                <a:gd name="T17" fmla="*/ 503 h 532"/>
                <a:gd name="T18" fmla="*/ 328 w 692"/>
                <a:gd name="T19" fmla="*/ 262 h 532"/>
                <a:gd name="T20" fmla="*/ 211 w 692"/>
                <a:gd name="T21" fmla="*/ 262 h 532"/>
                <a:gd name="T22" fmla="*/ 211 w 692"/>
                <a:gd name="T23" fmla="*/ 503 h 532"/>
                <a:gd name="T24" fmla="*/ 166 w 692"/>
                <a:gd name="T25" fmla="*/ 503 h 532"/>
                <a:gd name="T26" fmla="*/ 166 w 692"/>
                <a:gd name="T27" fmla="*/ 311 h 532"/>
                <a:gd name="T28" fmla="*/ 48 w 692"/>
                <a:gd name="T29" fmla="*/ 311 h 532"/>
                <a:gd name="T30" fmla="*/ 48 w 692"/>
                <a:gd name="T31" fmla="*/ 503 h 532"/>
                <a:gd name="T32" fmla="*/ 0 w 692"/>
                <a:gd name="T33" fmla="*/ 503 h 532"/>
                <a:gd name="T34" fmla="*/ 0 w 692"/>
                <a:gd name="T35" fmla="*/ 532 h 532"/>
                <a:gd name="T36" fmla="*/ 692 w 692"/>
                <a:gd name="T37" fmla="*/ 532 h 532"/>
                <a:gd name="T38" fmla="*/ 692 w 692"/>
                <a:gd name="T39" fmla="*/ 503 h 532"/>
                <a:gd name="T40" fmla="*/ 645 w 692"/>
                <a:gd name="T41" fmla="*/ 503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2" h="532">
                  <a:moveTo>
                    <a:pt x="645" y="503"/>
                  </a:moveTo>
                  <a:lnTo>
                    <a:pt x="645" y="0"/>
                  </a:lnTo>
                  <a:lnTo>
                    <a:pt x="527" y="0"/>
                  </a:lnTo>
                  <a:lnTo>
                    <a:pt x="527" y="503"/>
                  </a:lnTo>
                  <a:lnTo>
                    <a:pt x="487" y="503"/>
                  </a:lnTo>
                  <a:lnTo>
                    <a:pt x="487" y="164"/>
                  </a:lnTo>
                  <a:lnTo>
                    <a:pt x="369" y="164"/>
                  </a:lnTo>
                  <a:lnTo>
                    <a:pt x="369" y="503"/>
                  </a:lnTo>
                  <a:lnTo>
                    <a:pt x="328" y="503"/>
                  </a:lnTo>
                  <a:lnTo>
                    <a:pt x="328" y="262"/>
                  </a:lnTo>
                  <a:lnTo>
                    <a:pt x="211" y="262"/>
                  </a:lnTo>
                  <a:lnTo>
                    <a:pt x="211" y="503"/>
                  </a:lnTo>
                  <a:lnTo>
                    <a:pt x="166" y="503"/>
                  </a:lnTo>
                  <a:lnTo>
                    <a:pt x="166" y="311"/>
                  </a:lnTo>
                  <a:lnTo>
                    <a:pt x="48" y="311"/>
                  </a:lnTo>
                  <a:lnTo>
                    <a:pt x="48" y="503"/>
                  </a:lnTo>
                  <a:lnTo>
                    <a:pt x="0" y="503"/>
                  </a:lnTo>
                  <a:lnTo>
                    <a:pt x="0" y="532"/>
                  </a:lnTo>
                  <a:lnTo>
                    <a:pt x="692" y="532"/>
                  </a:lnTo>
                  <a:lnTo>
                    <a:pt x="692" y="503"/>
                  </a:lnTo>
                  <a:lnTo>
                    <a:pt x="645" y="50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Freeform 32">
              <a:extLst>
                <a:ext uri="{FF2B5EF4-FFF2-40B4-BE49-F238E27FC236}">
                  <a16:creationId xmlns:a16="http://schemas.microsoft.com/office/drawing/2014/main" xmlns="" id="{37F97D5A-4BE2-46BF-84FE-C4A938636AC7}"/>
                </a:ext>
              </a:extLst>
            </p:cNvPr>
            <p:cNvSpPr>
              <a:spLocks noEditPoints="1"/>
            </p:cNvSpPr>
            <p:nvPr/>
          </p:nvSpPr>
          <p:spPr bwMode="auto">
            <a:xfrm>
              <a:off x="3955565" y="2119332"/>
              <a:ext cx="453559" cy="397606"/>
            </a:xfrm>
            <a:custGeom>
              <a:avLst/>
              <a:gdLst>
                <a:gd name="T0" fmla="*/ 65 w 371"/>
                <a:gd name="T1" fmla="*/ 201 h 324"/>
                <a:gd name="T2" fmla="*/ 97 w 371"/>
                <a:gd name="T3" fmla="*/ 205 h 324"/>
                <a:gd name="T4" fmla="*/ 92 w 371"/>
                <a:gd name="T5" fmla="*/ 236 h 324"/>
                <a:gd name="T6" fmla="*/ 64 w 371"/>
                <a:gd name="T7" fmla="*/ 219 h 324"/>
                <a:gd name="T8" fmla="*/ 84 w 371"/>
                <a:gd name="T9" fmla="*/ 135 h 324"/>
                <a:gd name="T10" fmla="*/ 43 w 371"/>
                <a:gd name="T11" fmla="*/ 163 h 324"/>
                <a:gd name="T12" fmla="*/ 46 w 371"/>
                <a:gd name="T13" fmla="*/ 198 h 324"/>
                <a:gd name="T14" fmla="*/ 45 w 371"/>
                <a:gd name="T15" fmla="*/ 227 h 324"/>
                <a:gd name="T16" fmla="*/ 76 w 371"/>
                <a:gd name="T17" fmla="*/ 248 h 324"/>
                <a:gd name="T18" fmla="*/ 99 w 371"/>
                <a:gd name="T19" fmla="*/ 261 h 324"/>
                <a:gd name="T20" fmla="*/ 77 w 371"/>
                <a:gd name="T21" fmla="*/ 281 h 324"/>
                <a:gd name="T22" fmla="*/ 41 w 371"/>
                <a:gd name="T23" fmla="*/ 272 h 324"/>
                <a:gd name="T24" fmla="*/ 25 w 371"/>
                <a:gd name="T25" fmla="*/ 290 h 324"/>
                <a:gd name="T26" fmla="*/ 30 w 371"/>
                <a:gd name="T27" fmla="*/ 249 h 324"/>
                <a:gd name="T28" fmla="*/ 0 w 371"/>
                <a:gd name="T29" fmla="*/ 290 h 324"/>
                <a:gd name="T30" fmla="*/ 80 w 371"/>
                <a:gd name="T31" fmla="*/ 317 h 324"/>
                <a:gd name="T32" fmla="*/ 163 w 371"/>
                <a:gd name="T33" fmla="*/ 290 h 324"/>
                <a:gd name="T34" fmla="*/ 133 w 371"/>
                <a:gd name="T35" fmla="*/ 249 h 324"/>
                <a:gd name="T36" fmla="*/ 138 w 371"/>
                <a:gd name="T37" fmla="*/ 290 h 324"/>
                <a:gd name="T38" fmla="*/ 110 w 371"/>
                <a:gd name="T39" fmla="*/ 289 h 324"/>
                <a:gd name="T40" fmla="*/ 108 w 371"/>
                <a:gd name="T41" fmla="*/ 243 h 324"/>
                <a:gd name="T42" fmla="*/ 114 w 371"/>
                <a:gd name="T43" fmla="*/ 196 h 324"/>
                <a:gd name="T44" fmla="*/ 69 w 371"/>
                <a:gd name="T45" fmla="*/ 172 h 324"/>
                <a:gd name="T46" fmla="*/ 83 w 371"/>
                <a:gd name="T47" fmla="*/ 151 h 324"/>
                <a:gd name="T48" fmla="*/ 114 w 371"/>
                <a:gd name="T49" fmla="*/ 159 h 324"/>
                <a:gd name="T50" fmla="*/ 102 w 371"/>
                <a:gd name="T51" fmla="*/ 136 h 324"/>
                <a:gd name="T52" fmla="*/ 346 w 371"/>
                <a:gd name="T53" fmla="*/ 222 h 324"/>
                <a:gd name="T54" fmla="*/ 289 w 371"/>
                <a:gd name="T55" fmla="*/ 14 h 324"/>
                <a:gd name="T56" fmla="*/ 371 w 371"/>
                <a:gd name="T57" fmla="*/ 223 h 324"/>
                <a:gd name="T58" fmla="*/ 353 w 371"/>
                <a:gd name="T59" fmla="*/ 222 h 324"/>
                <a:gd name="T60" fmla="*/ 295 w 371"/>
                <a:gd name="T61" fmla="*/ 4 h 324"/>
                <a:gd name="T62" fmla="*/ 289 w 371"/>
                <a:gd name="T63" fmla="*/ 1 h 324"/>
                <a:gd name="T64" fmla="*/ 77 w 371"/>
                <a:gd name="T65" fmla="*/ 75 h 324"/>
                <a:gd name="T66" fmla="*/ 78 w 371"/>
                <a:gd name="T67" fmla="*/ 78 h 324"/>
                <a:gd name="T68" fmla="*/ 72 w 371"/>
                <a:gd name="T69" fmla="*/ 126 h 324"/>
                <a:gd name="T70" fmla="*/ 94 w 371"/>
                <a:gd name="T71" fmla="*/ 126 h 324"/>
                <a:gd name="T72" fmla="*/ 87 w 371"/>
                <a:gd name="T73" fmla="*/ 77 h 324"/>
                <a:gd name="T74" fmla="*/ 181 w 371"/>
                <a:gd name="T75" fmla="*/ 308 h 324"/>
                <a:gd name="T76" fmla="*/ 236 w 371"/>
                <a:gd name="T77" fmla="*/ 324 h 324"/>
                <a:gd name="T78" fmla="*/ 191 w 371"/>
                <a:gd name="T79" fmla="*/ 43 h 324"/>
                <a:gd name="T80" fmla="*/ 283 w 371"/>
                <a:gd name="T81" fmla="*/ 13 h 324"/>
                <a:gd name="T82" fmla="*/ 208 w 371"/>
                <a:gd name="T83" fmla="*/ 222 h 324"/>
                <a:gd name="T84" fmla="*/ 288 w 371"/>
                <a:gd name="T85" fmla="*/ 24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1" h="324">
                  <a:moveTo>
                    <a:pt x="61" y="211"/>
                  </a:moveTo>
                  <a:cubicBezTo>
                    <a:pt x="61" y="207"/>
                    <a:pt x="62" y="204"/>
                    <a:pt x="65" y="201"/>
                  </a:cubicBezTo>
                  <a:cubicBezTo>
                    <a:pt x="67" y="198"/>
                    <a:pt x="70" y="196"/>
                    <a:pt x="74" y="195"/>
                  </a:cubicBezTo>
                  <a:cubicBezTo>
                    <a:pt x="85" y="198"/>
                    <a:pt x="92" y="202"/>
                    <a:pt x="97" y="205"/>
                  </a:cubicBezTo>
                  <a:cubicBezTo>
                    <a:pt x="101" y="209"/>
                    <a:pt x="103" y="213"/>
                    <a:pt x="103" y="218"/>
                  </a:cubicBezTo>
                  <a:cubicBezTo>
                    <a:pt x="103" y="225"/>
                    <a:pt x="99" y="231"/>
                    <a:pt x="92" y="236"/>
                  </a:cubicBezTo>
                  <a:cubicBezTo>
                    <a:pt x="82" y="232"/>
                    <a:pt x="75" y="229"/>
                    <a:pt x="72" y="226"/>
                  </a:cubicBezTo>
                  <a:cubicBezTo>
                    <a:pt x="68" y="224"/>
                    <a:pt x="65" y="222"/>
                    <a:pt x="64" y="219"/>
                  </a:cubicBezTo>
                  <a:cubicBezTo>
                    <a:pt x="62" y="217"/>
                    <a:pt x="61" y="214"/>
                    <a:pt x="61" y="211"/>
                  </a:cubicBezTo>
                  <a:moveTo>
                    <a:pt x="84" y="135"/>
                  </a:moveTo>
                  <a:cubicBezTo>
                    <a:pt x="72" y="135"/>
                    <a:pt x="61" y="137"/>
                    <a:pt x="54" y="142"/>
                  </a:cubicBezTo>
                  <a:cubicBezTo>
                    <a:pt x="46" y="147"/>
                    <a:pt x="43" y="154"/>
                    <a:pt x="43" y="163"/>
                  </a:cubicBezTo>
                  <a:cubicBezTo>
                    <a:pt x="43" y="173"/>
                    <a:pt x="48" y="181"/>
                    <a:pt x="58" y="187"/>
                  </a:cubicBezTo>
                  <a:cubicBezTo>
                    <a:pt x="53" y="190"/>
                    <a:pt x="49" y="194"/>
                    <a:pt x="46" y="198"/>
                  </a:cubicBezTo>
                  <a:cubicBezTo>
                    <a:pt x="44" y="203"/>
                    <a:pt x="42" y="208"/>
                    <a:pt x="42" y="213"/>
                  </a:cubicBezTo>
                  <a:cubicBezTo>
                    <a:pt x="42" y="218"/>
                    <a:pt x="43" y="223"/>
                    <a:pt x="45" y="227"/>
                  </a:cubicBezTo>
                  <a:cubicBezTo>
                    <a:pt x="48" y="231"/>
                    <a:pt x="51" y="235"/>
                    <a:pt x="55" y="238"/>
                  </a:cubicBezTo>
                  <a:cubicBezTo>
                    <a:pt x="60" y="241"/>
                    <a:pt x="67" y="245"/>
                    <a:pt x="76" y="248"/>
                  </a:cubicBezTo>
                  <a:cubicBezTo>
                    <a:pt x="83" y="251"/>
                    <a:pt x="88" y="253"/>
                    <a:pt x="92" y="255"/>
                  </a:cubicBezTo>
                  <a:cubicBezTo>
                    <a:pt x="95" y="257"/>
                    <a:pt x="97" y="259"/>
                    <a:pt x="99" y="261"/>
                  </a:cubicBezTo>
                  <a:cubicBezTo>
                    <a:pt x="100" y="262"/>
                    <a:pt x="101" y="265"/>
                    <a:pt x="101" y="268"/>
                  </a:cubicBezTo>
                  <a:cubicBezTo>
                    <a:pt x="101" y="277"/>
                    <a:pt x="93" y="281"/>
                    <a:pt x="77" y="281"/>
                  </a:cubicBezTo>
                  <a:cubicBezTo>
                    <a:pt x="71" y="281"/>
                    <a:pt x="65" y="280"/>
                    <a:pt x="59" y="279"/>
                  </a:cubicBezTo>
                  <a:cubicBezTo>
                    <a:pt x="52" y="277"/>
                    <a:pt x="46" y="275"/>
                    <a:pt x="41" y="272"/>
                  </a:cubicBezTo>
                  <a:cubicBezTo>
                    <a:pt x="41" y="290"/>
                    <a:pt x="41" y="290"/>
                    <a:pt x="41" y="290"/>
                  </a:cubicBezTo>
                  <a:cubicBezTo>
                    <a:pt x="25" y="290"/>
                    <a:pt x="25" y="290"/>
                    <a:pt x="25" y="290"/>
                  </a:cubicBezTo>
                  <a:cubicBezTo>
                    <a:pt x="36" y="249"/>
                    <a:pt x="36" y="249"/>
                    <a:pt x="36" y="249"/>
                  </a:cubicBezTo>
                  <a:cubicBezTo>
                    <a:pt x="30" y="249"/>
                    <a:pt x="30" y="249"/>
                    <a:pt x="30" y="249"/>
                  </a:cubicBezTo>
                  <a:cubicBezTo>
                    <a:pt x="18" y="290"/>
                    <a:pt x="18" y="290"/>
                    <a:pt x="18" y="290"/>
                  </a:cubicBezTo>
                  <a:cubicBezTo>
                    <a:pt x="0" y="290"/>
                    <a:pt x="0" y="290"/>
                    <a:pt x="0" y="290"/>
                  </a:cubicBezTo>
                  <a:cubicBezTo>
                    <a:pt x="0" y="291"/>
                    <a:pt x="0" y="291"/>
                    <a:pt x="0" y="291"/>
                  </a:cubicBezTo>
                  <a:cubicBezTo>
                    <a:pt x="0" y="291"/>
                    <a:pt x="22" y="317"/>
                    <a:pt x="80" y="317"/>
                  </a:cubicBezTo>
                  <a:cubicBezTo>
                    <a:pt x="138" y="317"/>
                    <a:pt x="163" y="291"/>
                    <a:pt x="163" y="291"/>
                  </a:cubicBezTo>
                  <a:cubicBezTo>
                    <a:pt x="163" y="290"/>
                    <a:pt x="163" y="290"/>
                    <a:pt x="163" y="290"/>
                  </a:cubicBezTo>
                  <a:cubicBezTo>
                    <a:pt x="145" y="290"/>
                    <a:pt x="145" y="290"/>
                    <a:pt x="145" y="290"/>
                  </a:cubicBezTo>
                  <a:cubicBezTo>
                    <a:pt x="133" y="249"/>
                    <a:pt x="133" y="249"/>
                    <a:pt x="133" y="249"/>
                  </a:cubicBezTo>
                  <a:cubicBezTo>
                    <a:pt x="126" y="249"/>
                    <a:pt x="126" y="249"/>
                    <a:pt x="126" y="249"/>
                  </a:cubicBezTo>
                  <a:cubicBezTo>
                    <a:pt x="138" y="290"/>
                    <a:pt x="138" y="290"/>
                    <a:pt x="138" y="290"/>
                  </a:cubicBezTo>
                  <a:cubicBezTo>
                    <a:pt x="108" y="290"/>
                    <a:pt x="108" y="290"/>
                    <a:pt x="108" y="290"/>
                  </a:cubicBezTo>
                  <a:cubicBezTo>
                    <a:pt x="109" y="290"/>
                    <a:pt x="109" y="289"/>
                    <a:pt x="110" y="289"/>
                  </a:cubicBezTo>
                  <a:cubicBezTo>
                    <a:pt x="118" y="283"/>
                    <a:pt x="122" y="276"/>
                    <a:pt x="122" y="266"/>
                  </a:cubicBezTo>
                  <a:cubicBezTo>
                    <a:pt x="122" y="256"/>
                    <a:pt x="117" y="249"/>
                    <a:pt x="108" y="243"/>
                  </a:cubicBezTo>
                  <a:cubicBezTo>
                    <a:pt x="117" y="237"/>
                    <a:pt x="122" y="228"/>
                    <a:pt x="122" y="216"/>
                  </a:cubicBezTo>
                  <a:cubicBezTo>
                    <a:pt x="122" y="208"/>
                    <a:pt x="120" y="202"/>
                    <a:pt x="114" y="196"/>
                  </a:cubicBezTo>
                  <a:cubicBezTo>
                    <a:pt x="109" y="191"/>
                    <a:pt x="101" y="186"/>
                    <a:pt x="89" y="181"/>
                  </a:cubicBezTo>
                  <a:cubicBezTo>
                    <a:pt x="79" y="178"/>
                    <a:pt x="73" y="175"/>
                    <a:pt x="69" y="172"/>
                  </a:cubicBezTo>
                  <a:cubicBezTo>
                    <a:pt x="65" y="169"/>
                    <a:pt x="63" y="166"/>
                    <a:pt x="63" y="162"/>
                  </a:cubicBezTo>
                  <a:cubicBezTo>
                    <a:pt x="63" y="155"/>
                    <a:pt x="70" y="151"/>
                    <a:pt x="83" y="151"/>
                  </a:cubicBezTo>
                  <a:cubicBezTo>
                    <a:pt x="88" y="151"/>
                    <a:pt x="92" y="152"/>
                    <a:pt x="96" y="153"/>
                  </a:cubicBezTo>
                  <a:cubicBezTo>
                    <a:pt x="100" y="153"/>
                    <a:pt x="106" y="156"/>
                    <a:pt x="114" y="159"/>
                  </a:cubicBezTo>
                  <a:cubicBezTo>
                    <a:pt x="121" y="142"/>
                    <a:pt x="121" y="142"/>
                    <a:pt x="121" y="142"/>
                  </a:cubicBezTo>
                  <a:cubicBezTo>
                    <a:pt x="114" y="139"/>
                    <a:pt x="108" y="137"/>
                    <a:pt x="102" y="136"/>
                  </a:cubicBezTo>
                  <a:cubicBezTo>
                    <a:pt x="96" y="135"/>
                    <a:pt x="90" y="135"/>
                    <a:pt x="84" y="135"/>
                  </a:cubicBezTo>
                  <a:moveTo>
                    <a:pt x="346" y="222"/>
                  </a:moveTo>
                  <a:cubicBezTo>
                    <a:pt x="232" y="222"/>
                    <a:pt x="232" y="222"/>
                    <a:pt x="232" y="222"/>
                  </a:cubicBezTo>
                  <a:cubicBezTo>
                    <a:pt x="289" y="14"/>
                    <a:pt x="289" y="14"/>
                    <a:pt x="289" y="14"/>
                  </a:cubicBezTo>
                  <a:lnTo>
                    <a:pt x="346" y="222"/>
                  </a:lnTo>
                  <a:close/>
                  <a:moveTo>
                    <a:pt x="371" y="223"/>
                  </a:moveTo>
                  <a:cubicBezTo>
                    <a:pt x="371" y="222"/>
                    <a:pt x="371" y="222"/>
                    <a:pt x="371" y="222"/>
                  </a:cubicBezTo>
                  <a:cubicBezTo>
                    <a:pt x="353" y="222"/>
                    <a:pt x="353" y="222"/>
                    <a:pt x="353" y="222"/>
                  </a:cubicBezTo>
                  <a:cubicBezTo>
                    <a:pt x="295" y="9"/>
                    <a:pt x="295" y="9"/>
                    <a:pt x="295" y="9"/>
                  </a:cubicBezTo>
                  <a:cubicBezTo>
                    <a:pt x="295" y="8"/>
                    <a:pt x="296" y="6"/>
                    <a:pt x="295" y="4"/>
                  </a:cubicBezTo>
                  <a:cubicBezTo>
                    <a:pt x="295" y="4"/>
                    <a:pt x="295" y="4"/>
                    <a:pt x="295" y="4"/>
                  </a:cubicBezTo>
                  <a:cubicBezTo>
                    <a:pt x="295" y="4"/>
                    <a:pt x="294" y="0"/>
                    <a:pt x="289" y="1"/>
                  </a:cubicBezTo>
                  <a:cubicBezTo>
                    <a:pt x="79" y="69"/>
                    <a:pt x="79" y="69"/>
                    <a:pt x="79" y="69"/>
                  </a:cubicBezTo>
                  <a:cubicBezTo>
                    <a:pt x="79" y="69"/>
                    <a:pt x="75" y="71"/>
                    <a:pt x="77" y="75"/>
                  </a:cubicBezTo>
                  <a:cubicBezTo>
                    <a:pt x="77" y="75"/>
                    <a:pt x="77" y="75"/>
                    <a:pt x="77" y="75"/>
                  </a:cubicBezTo>
                  <a:cubicBezTo>
                    <a:pt x="77" y="75"/>
                    <a:pt x="77" y="77"/>
                    <a:pt x="78" y="78"/>
                  </a:cubicBezTo>
                  <a:cubicBezTo>
                    <a:pt x="65" y="126"/>
                    <a:pt x="65" y="126"/>
                    <a:pt x="65" y="126"/>
                  </a:cubicBezTo>
                  <a:cubicBezTo>
                    <a:pt x="72" y="126"/>
                    <a:pt x="72" y="126"/>
                    <a:pt x="72" y="126"/>
                  </a:cubicBezTo>
                  <a:cubicBezTo>
                    <a:pt x="83" y="85"/>
                    <a:pt x="83" y="85"/>
                    <a:pt x="83" y="85"/>
                  </a:cubicBezTo>
                  <a:cubicBezTo>
                    <a:pt x="94" y="126"/>
                    <a:pt x="94" y="126"/>
                    <a:pt x="94" y="126"/>
                  </a:cubicBezTo>
                  <a:cubicBezTo>
                    <a:pt x="101" y="126"/>
                    <a:pt x="101" y="126"/>
                    <a:pt x="101" y="126"/>
                  </a:cubicBezTo>
                  <a:cubicBezTo>
                    <a:pt x="87" y="77"/>
                    <a:pt x="87" y="77"/>
                    <a:pt x="87" y="77"/>
                  </a:cubicBezTo>
                  <a:cubicBezTo>
                    <a:pt x="181" y="46"/>
                    <a:pt x="181" y="46"/>
                    <a:pt x="181" y="46"/>
                  </a:cubicBezTo>
                  <a:cubicBezTo>
                    <a:pt x="181" y="308"/>
                    <a:pt x="181" y="308"/>
                    <a:pt x="181" y="308"/>
                  </a:cubicBezTo>
                  <a:cubicBezTo>
                    <a:pt x="148" y="309"/>
                    <a:pt x="136" y="324"/>
                    <a:pt x="136" y="324"/>
                  </a:cubicBezTo>
                  <a:cubicBezTo>
                    <a:pt x="236" y="324"/>
                    <a:pt x="236" y="324"/>
                    <a:pt x="236" y="324"/>
                  </a:cubicBezTo>
                  <a:cubicBezTo>
                    <a:pt x="236" y="324"/>
                    <a:pt x="222" y="310"/>
                    <a:pt x="191" y="308"/>
                  </a:cubicBezTo>
                  <a:cubicBezTo>
                    <a:pt x="191" y="43"/>
                    <a:pt x="191" y="43"/>
                    <a:pt x="191" y="43"/>
                  </a:cubicBezTo>
                  <a:cubicBezTo>
                    <a:pt x="280" y="14"/>
                    <a:pt x="280" y="14"/>
                    <a:pt x="280" y="14"/>
                  </a:cubicBezTo>
                  <a:cubicBezTo>
                    <a:pt x="283" y="13"/>
                    <a:pt x="283" y="13"/>
                    <a:pt x="283" y="13"/>
                  </a:cubicBezTo>
                  <a:cubicBezTo>
                    <a:pt x="226" y="222"/>
                    <a:pt x="226" y="222"/>
                    <a:pt x="226" y="222"/>
                  </a:cubicBezTo>
                  <a:cubicBezTo>
                    <a:pt x="208" y="222"/>
                    <a:pt x="208" y="222"/>
                    <a:pt x="208" y="222"/>
                  </a:cubicBezTo>
                  <a:cubicBezTo>
                    <a:pt x="208" y="223"/>
                    <a:pt x="208" y="223"/>
                    <a:pt x="208" y="223"/>
                  </a:cubicBezTo>
                  <a:cubicBezTo>
                    <a:pt x="208" y="223"/>
                    <a:pt x="230" y="249"/>
                    <a:pt x="288" y="249"/>
                  </a:cubicBezTo>
                  <a:cubicBezTo>
                    <a:pt x="346" y="249"/>
                    <a:pt x="371" y="223"/>
                    <a:pt x="371" y="223"/>
                  </a:cubicBezTo>
                </a:path>
              </a:pathLst>
            </a:custGeom>
            <a:solidFill>
              <a:srgbClr val="E5329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97" name="Gruppieren 96">
              <a:extLst>
                <a:ext uri="{FF2B5EF4-FFF2-40B4-BE49-F238E27FC236}">
                  <a16:creationId xmlns:a16="http://schemas.microsoft.com/office/drawing/2014/main" xmlns="" id="{BD28ADE7-9940-4DBE-9B4D-D2230FE33ECD}"/>
                </a:ext>
              </a:extLst>
            </p:cNvPr>
            <p:cNvGrpSpPr/>
            <p:nvPr/>
          </p:nvGrpSpPr>
          <p:grpSpPr>
            <a:xfrm>
              <a:off x="3800110" y="4560336"/>
              <a:ext cx="411727" cy="402270"/>
              <a:chOff x="7704138" y="3649663"/>
              <a:chExt cx="898526" cy="877888"/>
            </a:xfrm>
            <a:solidFill>
              <a:schemeClr val="tx2"/>
            </a:solidFill>
          </p:grpSpPr>
          <p:sp>
            <p:nvSpPr>
              <p:cNvPr id="98" name="Freeform 36">
                <a:extLst>
                  <a:ext uri="{FF2B5EF4-FFF2-40B4-BE49-F238E27FC236}">
                    <a16:creationId xmlns:a16="http://schemas.microsoft.com/office/drawing/2014/main" xmlns="" id="{CE6A7B44-8D82-48BD-B2CD-B65165589EB5}"/>
                  </a:ext>
                </a:extLst>
              </p:cNvPr>
              <p:cNvSpPr>
                <a:spLocks/>
              </p:cNvSpPr>
              <p:nvPr/>
            </p:nvSpPr>
            <p:spPr bwMode="auto">
              <a:xfrm>
                <a:off x="7704138" y="3649663"/>
                <a:ext cx="487363" cy="877888"/>
              </a:xfrm>
              <a:custGeom>
                <a:avLst/>
                <a:gdLst>
                  <a:gd name="T0" fmla="*/ 188 w 213"/>
                  <a:gd name="T1" fmla="*/ 122 h 383"/>
                  <a:gd name="T2" fmla="*/ 198 w 213"/>
                  <a:gd name="T3" fmla="*/ 94 h 383"/>
                  <a:gd name="T4" fmla="*/ 153 w 213"/>
                  <a:gd name="T5" fmla="*/ 49 h 383"/>
                  <a:gd name="T6" fmla="*/ 151 w 213"/>
                  <a:gd name="T7" fmla="*/ 49 h 383"/>
                  <a:gd name="T8" fmla="*/ 152 w 213"/>
                  <a:gd name="T9" fmla="*/ 39 h 383"/>
                  <a:gd name="T10" fmla="*/ 113 w 213"/>
                  <a:gd name="T11" fmla="*/ 0 h 383"/>
                  <a:gd name="T12" fmla="*/ 74 w 213"/>
                  <a:gd name="T13" fmla="*/ 39 h 383"/>
                  <a:gd name="T14" fmla="*/ 74 w 213"/>
                  <a:gd name="T15" fmla="*/ 40 h 383"/>
                  <a:gd name="T16" fmla="*/ 25 w 213"/>
                  <a:gd name="T17" fmla="*/ 91 h 383"/>
                  <a:gd name="T18" fmla="*/ 28 w 213"/>
                  <a:gd name="T19" fmla="*/ 105 h 383"/>
                  <a:gd name="T20" fmla="*/ 0 w 213"/>
                  <a:gd name="T21" fmla="*/ 155 h 383"/>
                  <a:gd name="T22" fmla="*/ 30 w 213"/>
                  <a:gd name="T23" fmla="*/ 207 h 383"/>
                  <a:gd name="T24" fmla="*/ 29 w 213"/>
                  <a:gd name="T25" fmla="*/ 215 h 383"/>
                  <a:gd name="T26" fmla="*/ 79 w 213"/>
                  <a:gd name="T27" fmla="*/ 265 h 383"/>
                  <a:gd name="T28" fmla="*/ 98 w 213"/>
                  <a:gd name="T29" fmla="*/ 261 h 383"/>
                  <a:gd name="T30" fmla="*/ 101 w 213"/>
                  <a:gd name="T31" fmla="*/ 261 h 383"/>
                  <a:gd name="T32" fmla="*/ 101 w 213"/>
                  <a:gd name="T33" fmla="*/ 383 h 383"/>
                  <a:gd name="T34" fmla="*/ 132 w 213"/>
                  <a:gd name="T35" fmla="*/ 383 h 383"/>
                  <a:gd name="T36" fmla="*/ 132 w 213"/>
                  <a:gd name="T37" fmla="*/ 267 h 383"/>
                  <a:gd name="T38" fmla="*/ 147 w 213"/>
                  <a:gd name="T39" fmla="*/ 270 h 383"/>
                  <a:gd name="T40" fmla="*/ 170 w 213"/>
                  <a:gd name="T41" fmla="*/ 264 h 383"/>
                  <a:gd name="T42" fmla="*/ 146 w 213"/>
                  <a:gd name="T43" fmla="*/ 221 h 383"/>
                  <a:gd name="T44" fmla="*/ 188 w 213"/>
                  <a:gd name="T45" fmla="*/ 169 h 383"/>
                  <a:gd name="T46" fmla="*/ 213 w 213"/>
                  <a:gd name="T47" fmla="*/ 144 h 383"/>
                  <a:gd name="T48" fmla="*/ 188 w 213"/>
                  <a:gd name="T49" fmla="*/ 122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3" h="383">
                    <a:moveTo>
                      <a:pt x="188" y="122"/>
                    </a:moveTo>
                    <a:cubicBezTo>
                      <a:pt x="194" y="114"/>
                      <a:pt x="198" y="105"/>
                      <a:pt x="198" y="94"/>
                    </a:cubicBezTo>
                    <a:cubicBezTo>
                      <a:pt x="198" y="69"/>
                      <a:pt x="178" y="49"/>
                      <a:pt x="153" y="49"/>
                    </a:cubicBezTo>
                    <a:cubicBezTo>
                      <a:pt x="152" y="49"/>
                      <a:pt x="152" y="49"/>
                      <a:pt x="151" y="49"/>
                    </a:cubicBezTo>
                    <a:cubicBezTo>
                      <a:pt x="152" y="46"/>
                      <a:pt x="152" y="43"/>
                      <a:pt x="152" y="39"/>
                    </a:cubicBezTo>
                    <a:cubicBezTo>
                      <a:pt x="152" y="17"/>
                      <a:pt x="135" y="0"/>
                      <a:pt x="113" y="0"/>
                    </a:cubicBezTo>
                    <a:cubicBezTo>
                      <a:pt x="91" y="0"/>
                      <a:pt x="74" y="17"/>
                      <a:pt x="74" y="39"/>
                    </a:cubicBezTo>
                    <a:cubicBezTo>
                      <a:pt x="74" y="40"/>
                      <a:pt x="74" y="40"/>
                      <a:pt x="74" y="40"/>
                    </a:cubicBezTo>
                    <a:cubicBezTo>
                      <a:pt x="47" y="41"/>
                      <a:pt x="25" y="63"/>
                      <a:pt x="25" y="91"/>
                    </a:cubicBezTo>
                    <a:cubicBezTo>
                      <a:pt x="25" y="96"/>
                      <a:pt x="26" y="101"/>
                      <a:pt x="28" y="105"/>
                    </a:cubicBezTo>
                    <a:cubicBezTo>
                      <a:pt x="11" y="116"/>
                      <a:pt x="0" y="134"/>
                      <a:pt x="0" y="155"/>
                    </a:cubicBezTo>
                    <a:cubicBezTo>
                      <a:pt x="0" y="178"/>
                      <a:pt x="12" y="197"/>
                      <a:pt x="30" y="207"/>
                    </a:cubicBezTo>
                    <a:cubicBezTo>
                      <a:pt x="29" y="209"/>
                      <a:pt x="29" y="212"/>
                      <a:pt x="29" y="215"/>
                    </a:cubicBezTo>
                    <a:cubicBezTo>
                      <a:pt x="29" y="243"/>
                      <a:pt x="51" y="265"/>
                      <a:pt x="79" y="265"/>
                    </a:cubicBezTo>
                    <a:cubicBezTo>
                      <a:pt x="86" y="265"/>
                      <a:pt x="92" y="264"/>
                      <a:pt x="98" y="261"/>
                    </a:cubicBezTo>
                    <a:cubicBezTo>
                      <a:pt x="99" y="261"/>
                      <a:pt x="100" y="261"/>
                      <a:pt x="101" y="261"/>
                    </a:cubicBezTo>
                    <a:cubicBezTo>
                      <a:pt x="101" y="383"/>
                      <a:pt x="101" y="383"/>
                      <a:pt x="101" y="383"/>
                    </a:cubicBezTo>
                    <a:cubicBezTo>
                      <a:pt x="132" y="383"/>
                      <a:pt x="132" y="383"/>
                      <a:pt x="132" y="383"/>
                    </a:cubicBezTo>
                    <a:cubicBezTo>
                      <a:pt x="132" y="267"/>
                      <a:pt x="132" y="267"/>
                      <a:pt x="132" y="267"/>
                    </a:cubicBezTo>
                    <a:cubicBezTo>
                      <a:pt x="137" y="269"/>
                      <a:pt x="142" y="270"/>
                      <a:pt x="147" y="270"/>
                    </a:cubicBezTo>
                    <a:cubicBezTo>
                      <a:pt x="155" y="270"/>
                      <a:pt x="163" y="268"/>
                      <a:pt x="170" y="264"/>
                    </a:cubicBezTo>
                    <a:cubicBezTo>
                      <a:pt x="155" y="255"/>
                      <a:pt x="146" y="239"/>
                      <a:pt x="146" y="221"/>
                    </a:cubicBezTo>
                    <a:cubicBezTo>
                      <a:pt x="146" y="195"/>
                      <a:pt x="164" y="174"/>
                      <a:pt x="188" y="169"/>
                    </a:cubicBezTo>
                    <a:cubicBezTo>
                      <a:pt x="193" y="158"/>
                      <a:pt x="202" y="149"/>
                      <a:pt x="213" y="144"/>
                    </a:cubicBezTo>
                    <a:cubicBezTo>
                      <a:pt x="207" y="134"/>
                      <a:pt x="198" y="127"/>
                      <a:pt x="188" y="122"/>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37">
                <a:extLst>
                  <a:ext uri="{FF2B5EF4-FFF2-40B4-BE49-F238E27FC236}">
                    <a16:creationId xmlns:a16="http://schemas.microsoft.com/office/drawing/2014/main" xmlns="" id="{BDEF46B1-8621-4418-BA23-0E1EB0B75F6E}"/>
                  </a:ext>
                </a:extLst>
              </p:cNvPr>
              <p:cNvSpPr>
                <a:spLocks/>
              </p:cNvSpPr>
              <p:nvPr/>
            </p:nvSpPr>
            <p:spPr bwMode="auto">
              <a:xfrm>
                <a:off x="8083551" y="3911601"/>
                <a:ext cx="519113" cy="615950"/>
              </a:xfrm>
              <a:custGeom>
                <a:avLst/>
                <a:gdLst>
                  <a:gd name="T0" fmla="*/ 227 w 227"/>
                  <a:gd name="T1" fmla="*/ 113 h 269"/>
                  <a:gd name="T2" fmla="*/ 191 w 227"/>
                  <a:gd name="T3" fmla="*/ 63 h 269"/>
                  <a:gd name="T4" fmla="*/ 151 w 227"/>
                  <a:gd name="T5" fmla="*/ 30 h 269"/>
                  <a:gd name="T6" fmla="*/ 147 w 227"/>
                  <a:gd name="T7" fmla="*/ 31 h 269"/>
                  <a:gd name="T8" fmla="*/ 112 w 227"/>
                  <a:gd name="T9" fmla="*/ 0 h 269"/>
                  <a:gd name="T10" fmla="*/ 78 w 227"/>
                  <a:gd name="T11" fmla="*/ 27 h 269"/>
                  <a:gd name="T12" fmla="*/ 42 w 227"/>
                  <a:gd name="T13" fmla="*/ 55 h 269"/>
                  <a:gd name="T14" fmla="*/ 0 w 227"/>
                  <a:gd name="T15" fmla="*/ 107 h 269"/>
                  <a:gd name="T16" fmla="*/ 39 w 227"/>
                  <a:gd name="T17" fmla="*/ 157 h 269"/>
                  <a:gd name="T18" fmla="*/ 75 w 227"/>
                  <a:gd name="T19" fmla="*/ 191 h 269"/>
                  <a:gd name="T20" fmla="*/ 100 w 227"/>
                  <a:gd name="T21" fmla="*/ 206 h 269"/>
                  <a:gd name="T22" fmla="*/ 107 w 227"/>
                  <a:gd name="T23" fmla="*/ 205 h 269"/>
                  <a:gd name="T24" fmla="*/ 107 w 227"/>
                  <a:gd name="T25" fmla="*/ 269 h 269"/>
                  <a:gd name="T26" fmla="*/ 125 w 227"/>
                  <a:gd name="T27" fmla="*/ 269 h 269"/>
                  <a:gd name="T28" fmla="*/ 125 w 227"/>
                  <a:gd name="T29" fmla="*/ 191 h 269"/>
                  <a:gd name="T30" fmla="*/ 125 w 227"/>
                  <a:gd name="T31" fmla="*/ 191 h 269"/>
                  <a:gd name="T32" fmla="*/ 144 w 227"/>
                  <a:gd name="T33" fmla="*/ 195 h 269"/>
                  <a:gd name="T34" fmla="*/ 186 w 227"/>
                  <a:gd name="T35" fmla="*/ 165 h 269"/>
                  <a:gd name="T36" fmla="*/ 227 w 227"/>
                  <a:gd name="T37" fmla="*/ 11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269">
                    <a:moveTo>
                      <a:pt x="227" y="113"/>
                    </a:moveTo>
                    <a:cubicBezTo>
                      <a:pt x="227" y="90"/>
                      <a:pt x="212" y="70"/>
                      <a:pt x="191" y="63"/>
                    </a:cubicBezTo>
                    <a:cubicBezTo>
                      <a:pt x="187" y="45"/>
                      <a:pt x="171" y="30"/>
                      <a:pt x="151" y="30"/>
                    </a:cubicBezTo>
                    <a:cubicBezTo>
                      <a:pt x="150" y="30"/>
                      <a:pt x="148" y="30"/>
                      <a:pt x="147" y="31"/>
                    </a:cubicBezTo>
                    <a:cubicBezTo>
                      <a:pt x="144" y="13"/>
                      <a:pt x="129" y="0"/>
                      <a:pt x="112" y="0"/>
                    </a:cubicBezTo>
                    <a:cubicBezTo>
                      <a:pt x="95" y="0"/>
                      <a:pt x="82" y="12"/>
                      <a:pt x="78" y="27"/>
                    </a:cubicBezTo>
                    <a:cubicBezTo>
                      <a:pt x="61" y="29"/>
                      <a:pt x="48" y="40"/>
                      <a:pt x="42" y="55"/>
                    </a:cubicBezTo>
                    <a:cubicBezTo>
                      <a:pt x="18" y="60"/>
                      <a:pt x="0" y="81"/>
                      <a:pt x="0" y="107"/>
                    </a:cubicBezTo>
                    <a:cubicBezTo>
                      <a:pt x="0" y="131"/>
                      <a:pt x="17" y="152"/>
                      <a:pt x="39" y="157"/>
                    </a:cubicBezTo>
                    <a:cubicBezTo>
                      <a:pt x="43" y="174"/>
                      <a:pt x="57" y="188"/>
                      <a:pt x="75" y="191"/>
                    </a:cubicBezTo>
                    <a:cubicBezTo>
                      <a:pt x="80" y="200"/>
                      <a:pt x="89" y="206"/>
                      <a:pt x="100" y="206"/>
                    </a:cubicBezTo>
                    <a:cubicBezTo>
                      <a:pt x="103" y="206"/>
                      <a:pt x="105" y="206"/>
                      <a:pt x="107" y="205"/>
                    </a:cubicBezTo>
                    <a:cubicBezTo>
                      <a:pt x="107" y="269"/>
                      <a:pt x="107" y="269"/>
                      <a:pt x="107" y="269"/>
                    </a:cubicBezTo>
                    <a:cubicBezTo>
                      <a:pt x="125" y="269"/>
                      <a:pt x="125" y="269"/>
                      <a:pt x="125" y="269"/>
                    </a:cubicBezTo>
                    <a:cubicBezTo>
                      <a:pt x="125" y="191"/>
                      <a:pt x="125" y="191"/>
                      <a:pt x="125" y="191"/>
                    </a:cubicBezTo>
                    <a:cubicBezTo>
                      <a:pt x="125" y="191"/>
                      <a:pt x="125" y="191"/>
                      <a:pt x="125" y="191"/>
                    </a:cubicBezTo>
                    <a:cubicBezTo>
                      <a:pt x="131" y="194"/>
                      <a:pt x="137" y="195"/>
                      <a:pt x="144" y="195"/>
                    </a:cubicBezTo>
                    <a:cubicBezTo>
                      <a:pt x="164" y="195"/>
                      <a:pt x="180" y="182"/>
                      <a:pt x="186" y="165"/>
                    </a:cubicBezTo>
                    <a:cubicBezTo>
                      <a:pt x="209" y="159"/>
                      <a:pt x="227" y="138"/>
                      <a:pt x="227" y="113"/>
                    </a:cubicBez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100" name="Ellipse 61">
              <a:extLst>
                <a:ext uri="{FF2B5EF4-FFF2-40B4-BE49-F238E27FC236}">
                  <a16:creationId xmlns:a16="http://schemas.microsoft.com/office/drawing/2014/main" xmlns="" id="{4828CF2B-D0E3-4C99-9333-51FBA80A3DE0}"/>
                </a:ext>
              </a:extLst>
            </p:cNvPr>
            <p:cNvSpPr>
              <a:spLocks/>
            </p:cNvSpPr>
            <p:nvPr/>
          </p:nvSpPr>
          <p:spPr>
            <a:xfrm rot="5400000">
              <a:off x="2935210" y="1240215"/>
              <a:ext cx="520866" cy="1507777"/>
            </a:xfrm>
            <a:prstGeom prst="rect">
              <a:avLst/>
            </a:prstGeom>
            <a:noFill/>
            <a:ln>
              <a:noFill/>
            </a:ln>
          </p:spPr>
          <p:txBody>
            <a:bodyPr vert="vert270" wrap="square" lIns="0" tIns="0" rIns="0" bIns="0" rtlCol="0" anchor="ctr" anchorCtr="0"/>
            <a:lstStyle/>
            <a:p>
              <a:pPr algn="ctr">
                <a:spcAft>
                  <a:spcPts val="600"/>
                </a:spcAft>
              </a:pPr>
              <a:r>
                <a:rPr lang="en-GB" sz="1600" dirty="0" err="1"/>
                <a:t>Politische</a:t>
              </a:r>
              <a:r>
                <a:rPr lang="en-GB" sz="1600" dirty="0"/>
                <a:t> / </a:t>
              </a:r>
              <a:r>
                <a:rPr lang="en-GB" sz="1600" dirty="0" err="1"/>
                <a:t>Rechtliche</a:t>
              </a:r>
              <a:r>
                <a:rPr lang="en-GB" sz="1600" dirty="0"/>
                <a:t> Umwelt</a:t>
              </a:r>
              <a:endParaRPr lang="en-GB" sz="1600" dirty="0">
                <a:cs typeface="Calibri"/>
              </a:endParaRPr>
            </a:p>
          </p:txBody>
        </p:sp>
        <p:sp>
          <p:nvSpPr>
            <p:cNvPr id="101" name="Ellipse 61">
              <a:extLst>
                <a:ext uri="{FF2B5EF4-FFF2-40B4-BE49-F238E27FC236}">
                  <a16:creationId xmlns:a16="http://schemas.microsoft.com/office/drawing/2014/main" xmlns="" id="{1F121331-B9EE-43A0-8D37-FC03A4F13E2F}"/>
                </a:ext>
              </a:extLst>
            </p:cNvPr>
            <p:cNvSpPr>
              <a:spLocks/>
            </p:cNvSpPr>
            <p:nvPr/>
          </p:nvSpPr>
          <p:spPr>
            <a:xfrm rot="5400000">
              <a:off x="8876769" y="1232412"/>
              <a:ext cx="432000" cy="1612248"/>
            </a:xfrm>
            <a:prstGeom prst="rect">
              <a:avLst/>
            </a:prstGeom>
            <a:noFill/>
            <a:ln>
              <a:noFill/>
            </a:ln>
          </p:spPr>
          <p:txBody>
            <a:bodyPr vert="vert270" wrap="square" lIns="0" tIns="0" rIns="0" bIns="0" rtlCol="0" anchor="ctr" anchorCtr="0"/>
            <a:lstStyle/>
            <a:p>
              <a:pPr algn="ctr">
                <a:spcAft>
                  <a:spcPts val="600"/>
                </a:spcAft>
              </a:pPr>
              <a:r>
                <a:rPr lang="en-GB" sz="1600" dirty="0" err="1"/>
                <a:t>Wirtschaftliche</a:t>
              </a:r>
              <a:r>
                <a:rPr lang="en-GB" sz="1600" dirty="0"/>
                <a:t> </a:t>
              </a:r>
              <a:br>
                <a:rPr lang="en-GB" sz="1600" dirty="0"/>
              </a:br>
              <a:r>
                <a:rPr lang="en-GB" sz="1600" dirty="0"/>
                <a:t>Umwelt</a:t>
              </a:r>
              <a:endParaRPr lang="en-GB" sz="1600" dirty="0">
                <a:cs typeface="Calibri"/>
              </a:endParaRPr>
            </a:p>
          </p:txBody>
        </p:sp>
        <p:sp>
          <p:nvSpPr>
            <p:cNvPr id="102" name="Ellipse 61">
              <a:extLst>
                <a:ext uri="{FF2B5EF4-FFF2-40B4-BE49-F238E27FC236}">
                  <a16:creationId xmlns:a16="http://schemas.microsoft.com/office/drawing/2014/main" xmlns="" id="{A0000FED-6E92-42B8-BA47-345EDB9A31CB}"/>
                </a:ext>
              </a:extLst>
            </p:cNvPr>
            <p:cNvSpPr>
              <a:spLocks/>
            </p:cNvSpPr>
            <p:nvPr/>
          </p:nvSpPr>
          <p:spPr>
            <a:xfrm rot="5400000">
              <a:off x="8790645"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a:t>Soziales Umfeld</a:t>
              </a:r>
              <a:endParaRPr lang="en-GB" sz="1600" dirty="0">
                <a:cs typeface="Calibri"/>
              </a:endParaRPr>
            </a:p>
          </p:txBody>
        </p:sp>
        <p:sp>
          <p:nvSpPr>
            <p:cNvPr id="103" name="Ellipse 61">
              <a:extLst>
                <a:ext uri="{FF2B5EF4-FFF2-40B4-BE49-F238E27FC236}">
                  <a16:creationId xmlns:a16="http://schemas.microsoft.com/office/drawing/2014/main" xmlns="" id="{9092344C-388A-4616-89F5-8EAFC10AB22F}"/>
                </a:ext>
              </a:extLst>
            </p:cNvPr>
            <p:cNvSpPr>
              <a:spLocks/>
            </p:cNvSpPr>
            <p:nvPr/>
          </p:nvSpPr>
          <p:spPr>
            <a:xfrm rot="5400000">
              <a:off x="2994539" y="4377654"/>
              <a:ext cx="432000" cy="1440000"/>
            </a:xfrm>
            <a:prstGeom prst="rect">
              <a:avLst/>
            </a:prstGeom>
            <a:noFill/>
            <a:ln>
              <a:noFill/>
            </a:ln>
          </p:spPr>
          <p:txBody>
            <a:bodyPr vert="vert270" wrap="square" lIns="0" tIns="0" rIns="0" bIns="0" rtlCol="0" anchor="ctr" anchorCtr="0"/>
            <a:lstStyle/>
            <a:p>
              <a:pPr algn="ctr">
                <a:spcAft>
                  <a:spcPts val="600"/>
                </a:spcAft>
              </a:pPr>
              <a:r>
                <a:rPr lang="en-GB" sz="1600" dirty="0" err="1"/>
                <a:t>Ökologische</a:t>
              </a:r>
              <a:r>
                <a:rPr lang="en-GB" sz="1600" dirty="0"/>
                <a:t/>
              </a:r>
              <a:br>
                <a:rPr lang="en-GB" sz="1600" dirty="0"/>
              </a:br>
              <a:r>
                <a:rPr lang="en-GB" sz="1600" dirty="0"/>
                <a:t>Umwelt</a:t>
              </a:r>
              <a:r>
                <a:rPr lang="en-GB" sz="1400" dirty="0"/>
                <a:t/>
              </a:r>
              <a:br>
                <a:rPr lang="en-GB" sz="1400" dirty="0"/>
              </a:br>
              <a:endParaRPr lang="en-GB" sz="1400" dirty="0"/>
            </a:p>
          </p:txBody>
        </p:sp>
        <p:sp>
          <p:nvSpPr>
            <p:cNvPr id="104" name="Ellipse 61">
              <a:extLst>
                <a:ext uri="{FF2B5EF4-FFF2-40B4-BE49-F238E27FC236}">
                  <a16:creationId xmlns:a16="http://schemas.microsoft.com/office/drawing/2014/main" xmlns="" id="{3447823A-AC12-4EA8-8E99-3320DA809566}"/>
                </a:ext>
              </a:extLst>
            </p:cNvPr>
            <p:cNvSpPr>
              <a:spLocks/>
            </p:cNvSpPr>
            <p:nvPr/>
          </p:nvSpPr>
          <p:spPr>
            <a:xfrm rot="5400000">
              <a:off x="6125180" y="5218493"/>
              <a:ext cx="206741" cy="2399491"/>
            </a:xfrm>
            <a:prstGeom prst="rect">
              <a:avLst/>
            </a:prstGeom>
            <a:noFill/>
            <a:ln>
              <a:noFill/>
            </a:ln>
          </p:spPr>
          <p:txBody>
            <a:bodyPr vert="vert270" wrap="square" lIns="0" tIns="0" rIns="0" bIns="0" rtlCol="0" anchor="ctr" anchorCtr="0"/>
            <a:lstStyle/>
            <a:p>
              <a:pPr algn="ctr">
                <a:spcAft>
                  <a:spcPts val="600"/>
                </a:spcAft>
              </a:pPr>
              <a:r>
                <a:rPr lang="en-GB" sz="1600" dirty="0"/>
                <a:t>Technologisches Umfeld</a:t>
              </a:r>
              <a:endParaRPr lang="en-US" sz="1600">
                <a:cs typeface="Calibri"/>
              </a:endParaRPr>
            </a:p>
          </p:txBody>
        </p:sp>
        <p:sp>
          <p:nvSpPr>
            <p:cNvPr id="105" name="AutoShape 36">
              <a:extLst>
                <a:ext uri="{FF2B5EF4-FFF2-40B4-BE49-F238E27FC236}">
                  <a16:creationId xmlns:a16="http://schemas.microsoft.com/office/drawing/2014/main" xmlns="" id="{5763F6DC-32B5-48D1-8A1E-7654A5C5961C}"/>
                </a:ext>
              </a:extLst>
            </p:cNvPr>
            <p:cNvSpPr txBox="1">
              <a:spLocks noChangeAspect="1"/>
            </p:cNvSpPr>
            <p:nvPr/>
          </p:nvSpPr>
          <p:spPr bwMode="gray">
            <a:xfrm rot="2700000">
              <a:off x="4808310" y="2349472"/>
              <a:ext cx="212308" cy="216000"/>
            </a:xfrm>
            <a:prstGeom prst="chevron">
              <a:avLst>
                <a:gd name="adj" fmla="val 35010"/>
              </a:avLst>
            </a:prstGeom>
            <a:solidFill>
              <a:srgbClr val="E5329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6" name="AutoShape 36">
              <a:extLst>
                <a:ext uri="{FF2B5EF4-FFF2-40B4-BE49-F238E27FC236}">
                  <a16:creationId xmlns:a16="http://schemas.microsoft.com/office/drawing/2014/main" xmlns="" id="{70E66169-A105-4EE3-B42F-7EDBEE3F5906}"/>
                </a:ext>
              </a:extLst>
            </p:cNvPr>
            <p:cNvSpPr txBox="1">
              <a:spLocks noChangeAspect="1"/>
            </p:cNvSpPr>
            <p:nvPr/>
          </p:nvSpPr>
          <p:spPr bwMode="gray">
            <a:xfrm rot="19569900">
              <a:off x="4399338" y="4510433"/>
              <a:ext cx="212308" cy="216000"/>
            </a:xfrm>
            <a:prstGeom prst="chevron">
              <a:avLst>
                <a:gd name="adj" fmla="val 35010"/>
              </a:avLst>
            </a:prstGeom>
            <a:solidFill>
              <a:srgbClr val="00206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7" name="AutoShape 36">
              <a:extLst>
                <a:ext uri="{FF2B5EF4-FFF2-40B4-BE49-F238E27FC236}">
                  <a16:creationId xmlns:a16="http://schemas.microsoft.com/office/drawing/2014/main" xmlns="" id="{38825D42-82F4-4F4C-802C-0A586AA0E9E7}"/>
                </a:ext>
              </a:extLst>
            </p:cNvPr>
            <p:cNvSpPr txBox="1">
              <a:spLocks noChangeAspect="1"/>
            </p:cNvSpPr>
            <p:nvPr/>
          </p:nvSpPr>
          <p:spPr bwMode="gray">
            <a:xfrm rot="8100000">
              <a:off x="7317013" y="2529226"/>
              <a:ext cx="212308" cy="216000"/>
            </a:xfrm>
            <a:prstGeom prst="chevron">
              <a:avLst>
                <a:gd name="adj" fmla="val 35010"/>
              </a:avLst>
            </a:prstGeom>
            <a:solidFill>
              <a:schemeClr val="accent2"/>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8" name="AutoShape 36">
              <a:extLst>
                <a:ext uri="{FF2B5EF4-FFF2-40B4-BE49-F238E27FC236}">
                  <a16:creationId xmlns:a16="http://schemas.microsoft.com/office/drawing/2014/main" xmlns="" id="{9CD7BEBF-CEE2-4B99-8EEE-4723A42A344E}"/>
                </a:ext>
              </a:extLst>
            </p:cNvPr>
            <p:cNvSpPr txBox="1">
              <a:spLocks noChangeAspect="1"/>
            </p:cNvSpPr>
            <p:nvPr/>
          </p:nvSpPr>
          <p:spPr bwMode="gray">
            <a:xfrm rot="2267131" flipH="1" flipV="1">
              <a:off x="7509808" y="4661526"/>
              <a:ext cx="212308" cy="216000"/>
            </a:xfrm>
            <a:prstGeom prst="chevron">
              <a:avLst>
                <a:gd name="adj" fmla="val 35010"/>
              </a:avLst>
            </a:prstGeom>
            <a:solidFill>
              <a:schemeClr val="accent5"/>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sp>
          <p:nvSpPr>
            <p:cNvPr id="109" name="AutoShape 36">
              <a:extLst>
                <a:ext uri="{FF2B5EF4-FFF2-40B4-BE49-F238E27FC236}">
                  <a16:creationId xmlns:a16="http://schemas.microsoft.com/office/drawing/2014/main" xmlns="" id="{692520F7-5B85-4F78-BD86-5878B39AEF78}"/>
                </a:ext>
              </a:extLst>
            </p:cNvPr>
            <p:cNvSpPr txBox="1">
              <a:spLocks noChangeAspect="1"/>
            </p:cNvSpPr>
            <p:nvPr/>
          </p:nvSpPr>
          <p:spPr bwMode="gray">
            <a:xfrm rot="16200000">
              <a:off x="6002038" y="5518250"/>
              <a:ext cx="212308" cy="216000"/>
            </a:xfrm>
            <a:prstGeom prst="chevron">
              <a:avLst>
                <a:gd name="adj" fmla="val 35010"/>
              </a:avLst>
            </a:prstGeom>
            <a:solidFill>
              <a:srgbClr val="00B050"/>
            </a:solidFill>
            <a:ln w="12700">
              <a:noFill/>
            </a:ln>
          </p:spPr>
          <p:txBody>
            <a:bodyPr vert="vert270" lIns="108000" tIns="0" rIns="0" bIns="0" rtlCol="0" anchor="ctr">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pPr algn="ctr"/>
              <a:endParaRPr lang="en-GB" sz="1400" dirty="0">
                <a:solidFill>
                  <a:schemeClr val="tx1"/>
                </a:solidFill>
                <a:cs typeface="Segoe UI Semibold" panose="020B0702040204020203" pitchFamily="34" charset="0"/>
              </a:endParaRPr>
            </a:p>
          </p:txBody>
        </p:sp>
      </p:grpSp>
      <p:sp>
        <p:nvSpPr>
          <p:cNvPr id="53" name="Textplatzhalter 1">
            <a:extLst>
              <a:ext uri="{FF2B5EF4-FFF2-40B4-BE49-F238E27FC236}">
                <a16:creationId xmlns:a16="http://schemas.microsoft.com/office/drawing/2014/main" xmlns="" id="{E11847E0-3175-42AC-859D-00227C834DFE}"/>
              </a:ext>
            </a:extLst>
          </p:cNvPr>
          <p:cNvSpPr txBox="1">
            <a:spLocks/>
          </p:cNvSpPr>
          <p:nvPr/>
        </p:nvSpPr>
        <p:spPr>
          <a:xfrm>
            <a:off x="1491743" y="479129"/>
            <a:ext cx="6575307"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Restrukturierungskonzept</a:t>
            </a:r>
            <a:r>
              <a:rPr lang="en-GB" dirty="0"/>
              <a:t>: </a:t>
            </a:r>
            <a:r>
              <a:rPr lang="en-GB" dirty="0" err="1"/>
              <a:t>Branchenanalyse</a:t>
            </a:r>
            <a:endParaRPr lang="en-GB" dirty="0"/>
          </a:p>
        </p:txBody>
      </p:sp>
    </p:spTree>
    <p:extLst>
      <p:ext uri="{BB962C8B-B14F-4D97-AF65-F5344CB8AC3E}">
        <p14:creationId xmlns:p14="http://schemas.microsoft.com/office/powerpoint/2010/main" val="35851180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81650" y="1727786"/>
            <a:ext cx="3104239"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Portfolioanalyse ist der Prozess der Überprüfung oder Bewertung der Elemente des gesamten Portfolios von Wertpapieren oder Produkten in einem Unternehmen. Die Überprüfung wird für eine sorgfältige Analyse von Risiko und Ertrag durchgeführt. Die Analyse hilft auch bei der richtigen Zuweisung von </a:t>
            </a:r>
            <a:r>
              <a:rPr lang="en-GB" sz="2200" dirty="0" err="1">
                <a:solidFill>
                  <a:srgbClr val="245473"/>
                </a:solidFill>
                <a:latin typeface="+mj-lt"/>
                <a:ea typeface="Open Sans Light" panose="020B0306030504020204" pitchFamily="34" charset="0"/>
                <a:cs typeface="Open Sans Light" panose="020B0306030504020204" pitchFamily="34" charset="0"/>
              </a:rPr>
              <a:t>Ressourcen</a:t>
            </a:r>
            <a:r>
              <a:rPr lang="en-GB" sz="2200" dirty="0">
                <a:solidFill>
                  <a:srgbClr val="245473"/>
                </a:solidFill>
                <a:latin typeface="+mj-lt"/>
                <a:ea typeface="Open Sans Light" panose="020B0306030504020204" pitchFamily="34" charset="0"/>
                <a:cs typeface="Open Sans Light" panose="020B0306030504020204" pitchFamily="34" charset="0"/>
              </a:rPr>
              <a:t>.</a:t>
            </a:r>
            <a:endParaRPr lang="en-US" sz="2200" dirty="0">
              <a:solidFill>
                <a:srgbClr val="245473"/>
              </a:solidFill>
            </a:endParaRPr>
          </a:p>
        </p:txBody>
      </p:sp>
      <p:grpSp>
        <p:nvGrpSpPr>
          <p:cNvPr id="5" name="Gruppieren 4">
            <a:extLst>
              <a:ext uri="{FF2B5EF4-FFF2-40B4-BE49-F238E27FC236}">
                <a16:creationId xmlns:a16="http://schemas.microsoft.com/office/drawing/2014/main" xmlns="" id="{1B76796B-C9AA-4190-88E6-D0119F3A7C57}"/>
              </a:ext>
            </a:extLst>
          </p:cNvPr>
          <p:cNvGrpSpPr/>
          <p:nvPr/>
        </p:nvGrpSpPr>
        <p:grpSpPr>
          <a:xfrm>
            <a:off x="3361938" y="1848297"/>
            <a:ext cx="9145510" cy="4462824"/>
            <a:chOff x="1824636" y="1987751"/>
            <a:chExt cx="9145510" cy="4462824"/>
          </a:xfrm>
        </p:grpSpPr>
        <p:sp>
          <p:nvSpPr>
            <p:cNvPr id="53" name="Textplatzhalter 3">
              <a:extLst>
                <a:ext uri="{FF2B5EF4-FFF2-40B4-BE49-F238E27FC236}">
                  <a16:creationId xmlns:a16="http://schemas.microsoft.com/office/drawing/2014/main" xmlns="" id="{89F04E0E-6200-4D6B-85E5-B64304DBEA4D}"/>
                </a:ext>
              </a:extLst>
            </p:cNvPr>
            <p:cNvSpPr txBox="1">
              <a:spLocks/>
            </p:cNvSpPr>
            <p:nvPr/>
          </p:nvSpPr>
          <p:spPr bwMode="gray">
            <a:xfrm>
              <a:off x="2371227" y="4025212"/>
              <a:ext cx="3950462" cy="1941321"/>
            </a:xfrm>
            <a:prstGeom prst="rect">
              <a:avLst/>
            </a:prstGeom>
            <a:solidFill>
              <a:srgbClr val="E53292"/>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Poor Dogs</a:t>
              </a:r>
            </a:p>
          </p:txBody>
        </p:sp>
        <p:sp>
          <p:nvSpPr>
            <p:cNvPr id="54" name="Textplatzhalter 3">
              <a:extLst>
                <a:ext uri="{FF2B5EF4-FFF2-40B4-BE49-F238E27FC236}">
                  <a16:creationId xmlns:a16="http://schemas.microsoft.com/office/drawing/2014/main" xmlns="" id="{5B97D2D6-5395-4C78-9417-079579A7E4D3}"/>
                </a:ext>
              </a:extLst>
            </p:cNvPr>
            <p:cNvSpPr txBox="1">
              <a:spLocks/>
            </p:cNvSpPr>
            <p:nvPr/>
          </p:nvSpPr>
          <p:spPr bwMode="gray">
            <a:xfrm>
              <a:off x="6393688" y="4025212"/>
              <a:ext cx="3950462" cy="1941322"/>
            </a:xfrm>
            <a:prstGeom prst="rect">
              <a:avLst/>
            </a:prstGeom>
            <a:solidFill>
              <a:schemeClr val="tx1">
                <a:lumMod val="50000"/>
                <a:lumOff val="50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Cash Cows</a:t>
              </a:r>
            </a:p>
          </p:txBody>
        </p:sp>
        <p:sp>
          <p:nvSpPr>
            <p:cNvPr id="55" name="Textplatzhalter 3">
              <a:extLst>
                <a:ext uri="{FF2B5EF4-FFF2-40B4-BE49-F238E27FC236}">
                  <a16:creationId xmlns:a16="http://schemas.microsoft.com/office/drawing/2014/main" xmlns="" id="{8BEDD873-E64C-40F4-B182-FB5F5CDAD1C9}"/>
                </a:ext>
              </a:extLst>
            </p:cNvPr>
            <p:cNvSpPr txBox="1">
              <a:spLocks/>
            </p:cNvSpPr>
            <p:nvPr/>
          </p:nvSpPr>
          <p:spPr bwMode="gray">
            <a:xfrm>
              <a:off x="6393689" y="2011890"/>
              <a:ext cx="3950461" cy="1941322"/>
            </a:xfrm>
            <a:prstGeom prst="rect">
              <a:avLst/>
            </a:prstGeom>
            <a:solidFill>
              <a:schemeClr val="accent6"/>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Stars</a:t>
              </a:r>
            </a:p>
          </p:txBody>
        </p:sp>
        <p:sp>
          <p:nvSpPr>
            <p:cNvPr id="56" name="Textplatzhalter 3">
              <a:extLst>
                <a:ext uri="{FF2B5EF4-FFF2-40B4-BE49-F238E27FC236}">
                  <a16:creationId xmlns:a16="http://schemas.microsoft.com/office/drawing/2014/main" xmlns="" id="{3A478D9D-309E-4A47-9781-A3641C71BD29}"/>
                </a:ext>
              </a:extLst>
            </p:cNvPr>
            <p:cNvSpPr txBox="1">
              <a:spLocks/>
            </p:cNvSpPr>
            <p:nvPr/>
          </p:nvSpPr>
          <p:spPr bwMode="gray">
            <a:xfrm>
              <a:off x="2371228" y="2011891"/>
              <a:ext cx="3950461" cy="1941321"/>
            </a:xfrm>
            <a:prstGeom prst="rect">
              <a:avLst/>
            </a:prstGeom>
            <a:solidFill>
              <a:schemeClr val="bg1">
                <a:lumMod val="95000"/>
              </a:schemeClr>
            </a:solidFill>
          </p:spPr>
          <p:txBody>
            <a:bodyPr vert="horz" lIns="91440" tIns="45720" rIns="91440" bIns="45720" rtlCol="0" anchor="t">
              <a:noAutofit/>
            </a:bodyPr>
            <a:lstStyle>
              <a:lvl1pPr marL="0" indent="0" algn="l" defTabSz="685800" rtl="0" eaLnBrk="1" latinLnBrk="0" hangingPunct="1">
                <a:lnSpc>
                  <a:spcPct val="100000"/>
                </a:lnSpc>
                <a:spcBef>
                  <a:spcPts val="600"/>
                </a:spcBef>
                <a:buFontTx/>
                <a:buNone/>
                <a:defRPr sz="1600" b="0" kern="1200">
                  <a:solidFill>
                    <a:schemeClr val="tx2"/>
                  </a:solidFill>
                  <a:latin typeface="+mn-lt"/>
                  <a:ea typeface="Open Sans Semibold" panose="020B0706030804020204" pitchFamily="34" charset="0"/>
                  <a:cs typeface="Segoe UI" panose="020B0502040204020203" pitchFamily="34" charset="0"/>
                </a:defRPr>
              </a:lvl1pPr>
              <a:lvl2pPr marL="180000" indent="-180000" algn="l" defTabSz="685800" rtl="0" eaLnBrk="1" latinLnBrk="0" hangingPunct="1">
                <a:lnSpc>
                  <a:spcPct val="100000"/>
                </a:lnSpc>
                <a:spcBef>
                  <a:spcPts val="600"/>
                </a:spcBef>
                <a:buFont typeface="Arial" panose="020B0604020202020204" pitchFamily="34" charset="0"/>
                <a:buChar char="•"/>
                <a:defRPr sz="1400" kern="1200">
                  <a:solidFill>
                    <a:schemeClr val="tx2"/>
                  </a:solidFill>
                  <a:latin typeface="+mn-lt"/>
                  <a:ea typeface="+mn-ea"/>
                  <a:cs typeface="Segoe UI" panose="020B0502040204020203" pitchFamily="34" charset="0"/>
                </a:defRPr>
              </a:lvl2pPr>
              <a:lvl3pPr marL="360000" indent="-180000" algn="l" defTabSz="685800" rtl="0" eaLnBrk="1" latinLnBrk="0" hangingPunct="1">
                <a:lnSpc>
                  <a:spcPct val="100000"/>
                </a:lnSpc>
                <a:spcBef>
                  <a:spcPts val="600"/>
                </a:spcBef>
                <a:buClr>
                  <a:schemeClr val="tx2"/>
                </a:buClr>
                <a:buFont typeface="Arial" panose="020B0604020202020204" pitchFamily="34" charset="0"/>
                <a:buChar char="•"/>
                <a:defRPr sz="1400" kern="1200">
                  <a:solidFill>
                    <a:schemeClr val="tx2"/>
                  </a:solidFill>
                  <a:latin typeface="+mn-lt"/>
                  <a:ea typeface="+mn-ea"/>
                  <a:cs typeface="Segoe UI" panose="020B0502040204020203" pitchFamily="34" charset="0"/>
                </a:defRPr>
              </a:lvl3pPr>
              <a:lvl4pPr marL="5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4pPr>
              <a:lvl5pPr marL="72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5pPr>
              <a:lvl6pPr marL="90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6pPr>
              <a:lvl7pPr marL="108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7pPr>
              <a:lvl8pPr marL="126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8pPr>
              <a:lvl9pPr marL="1440000" indent="-180000" algn="l" defTabSz="685800" rtl="0" eaLnBrk="1" latinLnBrk="0" hangingPunct="1">
                <a:lnSpc>
                  <a:spcPct val="100000"/>
                </a:lnSpc>
                <a:spcBef>
                  <a:spcPts val="600"/>
                </a:spcBef>
                <a:buClr>
                  <a:schemeClr val="tx2"/>
                </a:buClr>
                <a:buFont typeface="Arial" panose="020B0604020202020204" pitchFamily="34" charset="0"/>
                <a:buChar char="•"/>
                <a:defRPr sz="1200" kern="1200">
                  <a:solidFill>
                    <a:schemeClr val="tx2"/>
                  </a:solidFill>
                  <a:latin typeface="+mn-lt"/>
                  <a:ea typeface="+mn-ea"/>
                  <a:cs typeface="Segoe UI" panose="020B0502040204020203" pitchFamily="34" charset="0"/>
                </a:defRPr>
              </a:lvl9pPr>
            </a:lstStyle>
            <a:p>
              <a:r>
                <a:rPr lang="en-GB" dirty="0">
                  <a:solidFill>
                    <a:schemeClr val="tx1"/>
                  </a:solidFill>
                  <a:cs typeface="Segoe UI"/>
                </a:rPr>
                <a:t>Question Marks</a:t>
              </a:r>
            </a:p>
          </p:txBody>
        </p:sp>
        <p:cxnSp>
          <p:nvCxnSpPr>
            <p:cNvPr id="57" name="Gerade Verbindung mit Pfeil 56">
              <a:extLst>
                <a:ext uri="{FF2B5EF4-FFF2-40B4-BE49-F238E27FC236}">
                  <a16:creationId xmlns:a16="http://schemas.microsoft.com/office/drawing/2014/main" xmlns="" id="{6972CBF0-9DF4-4EA3-B20D-DD9C1FC6A4D7}"/>
                </a:ext>
              </a:extLst>
            </p:cNvPr>
            <p:cNvCxnSpPr/>
            <p:nvPr/>
          </p:nvCxnSpPr>
          <p:spPr>
            <a:xfrm>
              <a:off x="1994232" y="2337411"/>
              <a:ext cx="0" cy="3243255"/>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58" name="Gruppieren 57">
              <a:extLst>
                <a:ext uri="{FF2B5EF4-FFF2-40B4-BE49-F238E27FC236}">
                  <a16:creationId xmlns:a16="http://schemas.microsoft.com/office/drawing/2014/main" xmlns="" id="{14DFE472-6EC6-413C-9FF1-C4DE02E0BDAA}"/>
                </a:ext>
              </a:extLst>
            </p:cNvPr>
            <p:cNvGrpSpPr>
              <a:grpSpLocks noChangeAspect="1"/>
            </p:cNvGrpSpPr>
            <p:nvPr/>
          </p:nvGrpSpPr>
          <p:grpSpPr>
            <a:xfrm>
              <a:off x="1880349" y="2000399"/>
              <a:ext cx="227766" cy="227766"/>
              <a:chOff x="275183" y="2200270"/>
              <a:chExt cx="576064" cy="576064"/>
            </a:xfrm>
          </p:grpSpPr>
          <p:sp>
            <p:nvSpPr>
              <p:cNvPr id="59" name="Ellipse 58">
                <a:extLst>
                  <a:ext uri="{FF2B5EF4-FFF2-40B4-BE49-F238E27FC236}">
                    <a16:creationId xmlns:a16="http://schemas.microsoft.com/office/drawing/2014/main" xmlns="" id="{3D4810D7-DAD4-4A8B-AFF6-B0121A170660}"/>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0" name="Kreuz 59">
                <a:extLst>
                  <a:ext uri="{FF2B5EF4-FFF2-40B4-BE49-F238E27FC236}">
                    <a16:creationId xmlns:a16="http://schemas.microsoft.com/office/drawing/2014/main" xmlns="" id="{105A27FD-DBB2-450C-901C-122FCC745779}"/>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1" name="Gruppieren 60">
              <a:extLst>
                <a:ext uri="{FF2B5EF4-FFF2-40B4-BE49-F238E27FC236}">
                  <a16:creationId xmlns:a16="http://schemas.microsoft.com/office/drawing/2014/main" xmlns="" id="{A408DBFB-DE36-491A-9F19-80FAA4ED1F08}"/>
                </a:ext>
              </a:extLst>
            </p:cNvPr>
            <p:cNvGrpSpPr>
              <a:grpSpLocks noChangeAspect="1"/>
            </p:cNvGrpSpPr>
            <p:nvPr/>
          </p:nvGrpSpPr>
          <p:grpSpPr>
            <a:xfrm>
              <a:off x="1880349" y="5700420"/>
              <a:ext cx="227766" cy="227766"/>
              <a:chOff x="244903" y="2763008"/>
              <a:chExt cx="576064" cy="576064"/>
            </a:xfrm>
          </p:grpSpPr>
          <p:sp>
            <p:nvSpPr>
              <p:cNvPr id="62" name="Ellipse 61">
                <a:extLst>
                  <a:ext uri="{FF2B5EF4-FFF2-40B4-BE49-F238E27FC236}">
                    <a16:creationId xmlns:a16="http://schemas.microsoft.com/office/drawing/2014/main" xmlns="" id="{756F1197-5375-4289-B10C-16143B972D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3" name="Rechteck 62">
                <a:extLst>
                  <a:ext uri="{FF2B5EF4-FFF2-40B4-BE49-F238E27FC236}">
                    <a16:creationId xmlns:a16="http://schemas.microsoft.com/office/drawing/2014/main" xmlns="" id="{94326DED-EDE4-46DC-8E23-6163F22094D7}"/>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4" name="Gruppieren 63">
              <a:extLst>
                <a:ext uri="{FF2B5EF4-FFF2-40B4-BE49-F238E27FC236}">
                  <a16:creationId xmlns:a16="http://schemas.microsoft.com/office/drawing/2014/main" xmlns="" id="{1A70AA40-DFCD-460D-86A0-792F6A2AF927}"/>
                </a:ext>
              </a:extLst>
            </p:cNvPr>
            <p:cNvGrpSpPr>
              <a:grpSpLocks noChangeAspect="1"/>
            </p:cNvGrpSpPr>
            <p:nvPr/>
          </p:nvGrpSpPr>
          <p:grpSpPr>
            <a:xfrm>
              <a:off x="10109225" y="6192395"/>
              <a:ext cx="227766" cy="227766"/>
              <a:chOff x="275183" y="2200270"/>
              <a:chExt cx="576064" cy="576064"/>
            </a:xfrm>
          </p:grpSpPr>
          <p:sp>
            <p:nvSpPr>
              <p:cNvPr id="65" name="Ellipse 64">
                <a:extLst>
                  <a:ext uri="{FF2B5EF4-FFF2-40B4-BE49-F238E27FC236}">
                    <a16:creationId xmlns:a16="http://schemas.microsoft.com/office/drawing/2014/main" xmlns="" id="{3BCF5B43-42BB-4357-BBF8-A7E23B171D17}"/>
                  </a:ext>
                </a:extLst>
              </p:cNvPr>
              <p:cNvSpPr/>
              <p:nvPr/>
            </p:nvSpPr>
            <p:spPr>
              <a:xfrm>
                <a:off x="275183" y="2200270"/>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6" name="Kreuz 65">
                <a:extLst>
                  <a:ext uri="{FF2B5EF4-FFF2-40B4-BE49-F238E27FC236}">
                    <a16:creationId xmlns:a16="http://schemas.microsoft.com/office/drawing/2014/main" xmlns="" id="{0A8F5FB2-61B0-4EEB-880C-95CE0F492F77}"/>
                  </a:ext>
                </a:extLst>
              </p:cNvPr>
              <p:cNvSpPr/>
              <p:nvPr/>
            </p:nvSpPr>
            <p:spPr>
              <a:xfrm>
                <a:off x="383195" y="2308282"/>
                <a:ext cx="360040" cy="360040"/>
              </a:xfrm>
              <a:prstGeom prst="plus">
                <a:avLst>
                  <a:gd name="adj" fmla="val 355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grpSp>
          <p:nvGrpSpPr>
            <p:cNvPr id="67" name="Gruppieren 66">
              <a:extLst>
                <a:ext uri="{FF2B5EF4-FFF2-40B4-BE49-F238E27FC236}">
                  <a16:creationId xmlns:a16="http://schemas.microsoft.com/office/drawing/2014/main" xmlns="" id="{462146D2-A48B-445C-AD08-AF8445AA8378}"/>
                </a:ext>
              </a:extLst>
            </p:cNvPr>
            <p:cNvGrpSpPr>
              <a:grpSpLocks noChangeAspect="1"/>
            </p:cNvGrpSpPr>
            <p:nvPr/>
          </p:nvGrpSpPr>
          <p:grpSpPr>
            <a:xfrm>
              <a:off x="2369863" y="6192395"/>
              <a:ext cx="227766" cy="227766"/>
              <a:chOff x="244903" y="2763008"/>
              <a:chExt cx="576064" cy="576064"/>
            </a:xfrm>
          </p:grpSpPr>
          <p:sp>
            <p:nvSpPr>
              <p:cNvPr id="68" name="Ellipse 67">
                <a:extLst>
                  <a:ext uri="{FF2B5EF4-FFF2-40B4-BE49-F238E27FC236}">
                    <a16:creationId xmlns:a16="http://schemas.microsoft.com/office/drawing/2014/main" xmlns="" id="{42DB0DDA-EABF-4237-A4CB-DE82EE200560}"/>
                  </a:ext>
                </a:extLst>
              </p:cNvPr>
              <p:cNvSpPr/>
              <p:nvPr/>
            </p:nvSpPr>
            <p:spPr>
              <a:xfrm>
                <a:off x="244903" y="2763008"/>
                <a:ext cx="576064" cy="57606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sp>
            <p:nvSpPr>
              <p:cNvPr id="69" name="Rechteck 68">
                <a:extLst>
                  <a:ext uri="{FF2B5EF4-FFF2-40B4-BE49-F238E27FC236}">
                    <a16:creationId xmlns:a16="http://schemas.microsoft.com/office/drawing/2014/main" xmlns="" id="{D7E294AE-519D-4FC6-8BCD-35CBDA3A1936}"/>
                  </a:ext>
                </a:extLst>
              </p:cNvPr>
              <p:cNvSpPr/>
              <p:nvPr/>
            </p:nvSpPr>
            <p:spPr>
              <a:xfrm>
                <a:off x="379880" y="3002079"/>
                <a:ext cx="306110" cy="9792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2"/>
                  </a:solidFill>
                </a:endParaRPr>
              </a:p>
            </p:txBody>
          </p:sp>
        </p:grpSp>
        <p:cxnSp>
          <p:nvCxnSpPr>
            <p:cNvPr id="70" name="Gerade Verbindung mit Pfeil 69">
              <a:extLst>
                <a:ext uri="{FF2B5EF4-FFF2-40B4-BE49-F238E27FC236}">
                  <a16:creationId xmlns:a16="http://schemas.microsoft.com/office/drawing/2014/main" xmlns="" id="{C9A97610-A3DD-421B-AE1B-942C5959E68B}"/>
                </a:ext>
              </a:extLst>
            </p:cNvPr>
            <p:cNvCxnSpPr/>
            <p:nvPr/>
          </p:nvCxnSpPr>
          <p:spPr>
            <a:xfrm>
              <a:off x="2826914" y="6306278"/>
              <a:ext cx="7054609" cy="0"/>
            </a:xfrm>
            <a:prstGeom prst="straightConnector1">
              <a:avLst/>
            </a:prstGeom>
            <a:ln w="63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0" name="Text Box 20">
              <a:extLst>
                <a:ext uri="{FF2B5EF4-FFF2-40B4-BE49-F238E27FC236}">
                  <a16:creationId xmlns:a16="http://schemas.microsoft.com/office/drawing/2014/main" xmlns="" id="{FEBC49F3-C35F-4B85-8846-9586AD9BE82E}"/>
                </a:ext>
              </a:extLst>
            </p:cNvPr>
            <p:cNvSpPr txBox="1">
              <a:spLocks noChangeArrowheads="1"/>
            </p:cNvSpPr>
            <p:nvPr/>
          </p:nvSpPr>
          <p:spPr bwMode="auto">
            <a:xfrm>
              <a:off x="5380496" y="6111379"/>
              <a:ext cx="2000292" cy="339196"/>
            </a:xfrm>
            <a:prstGeom prst="rect">
              <a:avLst/>
            </a:prstGeom>
            <a:solidFill>
              <a:schemeClr val="bg1"/>
            </a:solidFill>
            <a:ln>
              <a:noFill/>
            </a:ln>
          </p:spPr>
          <p:txBody>
            <a:bodyPr wrap="non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a:latin typeface="+mn-lt"/>
                </a:rPr>
                <a:t>Relativer Marktanteil</a:t>
              </a:r>
              <a:endParaRPr lang="en-GB" sz="1600" dirty="0">
                <a:latin typeface="+mn-lt"/>
                <a:cs typeface="Calibri"/>
              </a:endParaRPr>
            </a:p>
          </p:txBody>
        </p:sp>
        <p:sp>
          <p:nvSpPr>
            <p:cNvPr id="111" name="Text Box 25">
              <a:extLst>
                <a:ext uri="{FF2B5EF4-FFF2-40B4-BE49-F238E27FC236}">
                  <a16:creationId xmlns:a16="http://schemas.microsoft.com/office/drawing/2014/main" xmlns="" id="{29D91A77-EE5E-4C0F-92CB-03C34DD424AF}"/>
                </a:ext>
              </a:extLst>
            </p:cNvPr>
            <p:cNvSpPr txBox="1">
              <a:spLocks noChangeArrowheads="1"/>
            </p:cNvSpPr>
            <p:nvPr/>
          </p:nvSpPr>
          <p:spPr bwMode="auto">
            <a:xfrm rot="16200000">
              <a:off x="1153681" y="3811211"/>
              <a:ext cx="1681105" cy="339196"/>
            </a:xfrm>
            <a:prstGeom prst="rect">
              <a:avLst/>
            </a:prstGeom>
            <a:solidFill>
              <a:schemeClr val="bg1"/>
            </a:solidFill>
            <a:ln>
              <a:noFill/>
            </a:ln>
          </p:spPr>
          <p:txBody>
            <a:bodyPr wrap="square" lIns="92075" tIns="46038" rIns="92075" bIns="46038" anchor="t">
              <a:spAutoFit/>
            </a:bodyPr>
            <a:lstStyle>
              <a:lvl1pPr>
                <a:spcAft>
                  <a:spcPct val="0"/>
                </a:spcAft>
                <a:defRPr>
                  <a:solidFill>
                    <a:schemeClr val="tx1"/>
                  </a:solidFill>
                  <a:latin typeface="Arial" charset="0"/>
                </a:defRPr>
              </a:lvl1pPr>
              <a:lvl2pPr marL="742950" indent="-285750">
                <a:spcAft>
                  <a:spcPct val="0"/>
                </a:spcAft>
                <a:defRPr>
                  <a:solidFill>
                    <a:schemeClr val="tx1"/>
                  </a:solidFill>
                  <a:latin typeface="Arial" charset="0"/>
                </a:defRPr>
              </a:lvl2pPr>
              <a:lvl3pPr marL="1143000" indent="-228600">
                <a:spcAft>
                  <a:spcPct val="0"/>
                </a:spcAft>
                <a:defRPr>
                  <a:solidFill>
                    <a:schemeClr val="tx1"/>
                  </a:solidFill>
                  <a:latin typeface="Arial" charset="0"/>
                </a:defRPr>
              </a:lvl3pPr>
              <a:lvl4pPr marL="1600200" indent="-228600">
                <a:spcAft>
                  <a:spcPct val="0"/>
                </a:spcAft>
                <a:defRPr>
                  <a:solidFill>
                    <a:schemeClr val="tx1"/>
                  </a:solidFill>
                  <a:latin typeface="Arial" charset="0"/>
                </a:defRPr>
              </a:lvl4pPr>
              <a:lvl5pPr marL="2057400" indent="-228600">
                <a:spcAft>
                  <a:spcPct val="0"/>
                </a:spcAft>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0" hangingPunct="0">
                <a:spcBef>
                  <a:spcPct val="50000"/>
                </a:spcBef>
                <a:buSzTx/>
                <a:buFontTx/>
                <a:buNone/>
              </a:pPr>
              <a:r>
                <a:rPr lang="en-GB" sz="1600" dirty="0" err="1">
                  <a:latin typeface="+mn-lt"/>
                </a:rPr>
                <a:t>Marktwachstum</a:t>
              </a:r>
              <a:endParaRPr lang="en-GB" sz="1600" dirty="0">
                <a:latin typeface="+mn-lt"/>
                <a:cs typeface="Calibri"/>
              </a:endParaRPr>
            </a:p>
          </p:txBody>
        </p:sp>
        <p:sp>
          <p:nvSpPr>
            <p:cNvPr id="112" name="Freeform 5">
              <a:extLst>
                <a:ext uri="{FF2B5EF4-FFF2-40B4-BE49-F238E27FC236}">
                  <a16:creationId xmlns:a16="http://schemas.microsoft.com/office/drawing/2014/main" xmlns="" id="{8443DB19-1E0A-435C-948A-61967BE193B3}"/>
                </a:ext>
              </a:extLst>
            </p:cNvPr>
            <p:cNvSpPr>
              <a:spLocks/>
            </p:cNvSpPr>
            <p:nvPr/>
          </p:nvSpPr>
          <p:spPr bwMode="auto">
            <a:xfrm>
              <a:off x="3877428" y="4157724"/>
              <a:ext cx="713210" cy="503673"/>
            </a:xfrm>
            <a:custGeom>
              <a:avLst/>
              <a:gdLst>
                <a:gd name="T0" fmla="*/ 210 w 306"/>
                <a:gd name="T1" fmla="*/ 21 h 216"/>
                <a:gd name="T2" fmla="*/ 124 w 306"/>
                <a:gd name="T3" fmla="*/ 21 h 216"/>
                <a:gd name="T4" fmla="*/ 72 w 306"/>
                <a:gd name="T5" fmla="*/ 59 h 216"/>
                <a:gd name="T6" fmla="*/ 24 w 306"/>
                <a:gd name="T7" fmla="*/ 72 h 216"/>
                <a:gd name="T8" fmla="*/ 4 w 306"/>
                <a:gd name="T9" fmla="*/ 84 h 216"/>
                <a:gd name="T10" fmla="*/ 62 w 306"/>
                <a:gd name="T11" fmla="*/ 156 h 216"/>
                <a:gd name="T12" fmla="*/ 137 w 306"/>
                <a:gd name="T13" fmla="*/ 158 h 216"/>
                <a:gd name="T14" fmla="*/ 188 w 306"/>
                <a:gd name="T15" fmla="*/ 216 h 216"/>
                <a:gd name="T16" fmla="*/ 296 w 306"/>
                <a:gd name="T17" fmla="*/ 132 h 216"/>
                <a:gd name="T18" fmla="*/ 210 w 306"/>
                <a:gd name="T19" fmla="*/ 2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216">
                  <a:moveTo>
                    <a:pt x="210" y="21"/>
                  </a:moveTo>
                  <a:cubicBezTo>
                    <a:pt x="159" y="0"/>
                    <a:pt x="132" y="15"/>
                    <a:pt x="124" y="21"/>
                  </a:cubicBezTo>
                  <a:cubicBezTo>
                    <a:pt x="117" y="26"/>
                    <a:pt x="117" y="46"/>
                    <a:pt x="72" y="59"/>
                  </a:cubicBezTo>
                  <a:cubicBezTo>
                    <a:pt x="28" y="72"/>
                    <a:pt x="31" y="72"/>
                    <a:pt x="24" y="72"/>
                  </a:cubicBezTo>
                  <a:cubicBezTo>
                    <a:pt x="16" y="72"/>
                    <a:pt x="7" y="65"/>
                    <a:pt x="4" y="84"/>
                  </a:cubicBezTo>
                  <a:cubicBezTo>
                    <a:pt x="0" y="121"/>
                    <a:pt x="35" y="152"/>
                    <a:pt x="62" y="156"/>
                  </a:cubicBezTo>
                  <a:cubicBezTo>
                    <a:pt x="89" y="160"/>
                    <a:pt x="93" y="139"/>
                    <a:pt x="137" y="158"/>
                  </a:cubicBezTo>
                  <a:cubicBezTo>
                    <a:pt x="181" y="177"/>
                    <a:pt x="188" y="216"/>
                    <a:pt x="188" y="216"/>
                  </a:cubicBezTo>
                  <a:cubicBezTo>
                    <a:pt x="188" y="216"/>
                    <a:pt x="306" y="158"/>
                    <a:pt x="296" y="132"/>
                  </a:cubicBezTo>
                  <a:cubicBezTo>
                    <a:pt x="283" y="97"/>
                    <a:pt x="210" y="21"/>
                    <a:pt x="210" y="21"/>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6">
              <a:extLst>
                <a:ext uri="{FF2B5EF4-FFF2-40B4-BE49-F238E27FC236}">
                  <a16:creationId xmlns:a16="http://schemas.microsoft.com/office/drawing/2014/main" xmlns="" id="{37E25A22-1212-48BC-9FC4-67390A62A94A}"/>
                </a:ext>
              </a:extLst>
            </p:cNvPr>
            <p:cNvSpPr>
              <a:spLocks/>
            </p:cNvSpPr>
            <p:nvPr/>
          </p:nvSpPr>
          <p:spPr bwMode="auto">
            <a:xfrm>
              <a:off x="4325029" y="4530560"/>
              <a:ext cx="1975345" cy="1432321"/>
            </a:xfrm>
            <a:custGeom>
              <a:avLst/>
              <a:gdLst>
                <a:gd name="T0" fmla="*/ 121 w 848"/>
                <a:gd name="T1" fmla="*/ 0 h 614"/>
                <a:gd name="T2" fmla="*/ 240 w 848"/>
                <a:gd name="T3" fmla="*/ 79 h 614"/>
                <a:gd name="T4" fmla="*/ 625 w 848"/>
                <a:gd name="T5" fmla="*/ 128 h 614"/>
                <a:gd name="T6" fmla="*/ 665 w 848"/>
                <a:gd name="T7" fmla="*/ 251 h 614"/>
                <a:gd name="T8" fmla="*/ 841 w 848"/>
                <a:gd name="T9" fmla="*/ 394 h 614"/>
                <a:gd name="T10" fmla="*/ 660 w 848"/>
                <a:gd name="T11" fmla="*/ 289 h 614"/>
                <a:gd name="T12" fmla="*/ 742 w 848"/>
                <a:gd name="T13" fmla="*/ 456 h 614"/>
                <a:gd name="T14" fmla="*/ 746 w 848"/>
                <a:gd name="T15" fmla="*/ 614 h 614"/>
                <a:gd name="T16" fmla="*/ 691 w 848"/>
                <a:gd name="T17" fmla="*/ 614 h 614"/>
                <a:gd name="T18" fmla="*/ 701 w 848"/>
                <a:gd name="T19" fmla="*/ 509 h 614"/>
                <a:gd name="T20" fmla="*/ 651 w 848"/>
                <a:gd name="T21" fmla="*/ 417 h 614"/>
                <a:gd name="T22" fmla="*/ 646 w 848"/>
                <a:gd name="T23" fmla="*/ 614 h 614"/>
                <a:gd name="T24" fmla="*/ 584 w 848"/>
                <a:gd name="T25" fmla="*/ 614 h 614"/>
                <a:gd name="T26" fmla="*/ 617 w 848"/>
                <a:gd name="T27" fmla="*/ 547 h 614"/>
                <a:gd name="T28" fmla="*/ 576 w 848"/>
                <a:gd name="T29" fmla="*/ 420 h 614"/>
                <a:gd name="T30" fmla="*/ 444 w 848"/>
                <a:gd name="T31" fmla="*/ 289 h 614"/>
                <a:gd name="T32" fmla="*/ 207 w 848"/>
                <a:gd name="T33" fmla="*/ 389 h 614"/>
                <a:gd name="T34" fmla="*/ 160 w 848"/>
                <a:gd name="T35" fmla="*/ 614 h 614"/>
                <a:gd name="T36" fmla="*/ 108 w 848"/>
                <a:gd name="T37" fmla="*/ 614 h 614"/>
                <a:gd name="T38" fmla="*/ 133 w 848"/>
                <a:gd name="T39" fmla="*/ 417 h 614"/>
                <a:gd name="T40" fmla="*/ 120 w 848"/>
                <a:gd name="T41" fmla="*/ 372 h 614"/>
                <a:gd name="T42" fmla="*/ 77 w 848"/>
                <a:gd name="T43" fmla="*/ 614 h 614"/>
                <a:gd name="T44" fmla="*/ 29 w 848"/>
                <a:gd name="T45" fmla="*/ 614 h 614"/>
                <a:gd name="T46" fmla="*/ 47 w 848"/>
                <a:gd name="T47" fmla="*/ 265 h 614"/>
                <a:gd name="T48" fmla="*/ 8 w 848"/>
                <a:gd name="T49" fmla="*/ 124 h 614"/>
                <a:gd name="T50" fmla="*/ 121 w 848"/>
                <a:gd name="T51" fmla="*/ 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8" h="614">
                  <a:moveTo>
                    <a:pt x="121" y="0"/>
                  </a:moveTo>
                  <a:cubicBezTo>
                    <a:pt x="123" y="10"/>
                    <a:pt x="180" y="67"/>
                    <a:pt x="240" y="79"/>
                  </a:cubicBezTo>
                  <a:cubicBezTo>
                    <a:pt x="299" y="90"/>
                    <a:pt x="587" y="68"/>
                    <a:pt x="625" y="128"/>
                  </a:cubicBezTo>
                  <a:cubicBezTo>
                    <a:pt x="664" y="188"/>
                    <a:pt x="661" y="243"/>
                    <a:pt x="665" y="251"/>
                  </a:cubicBezTo>
                  <a:cubicBezTo>
                    <a:pt x="707" y="335"/>
                    <a:pt x="848" y="389"/>
                    <a:pt x="841" y="394"/>
                  </a:cubicBezTo>
                  <a:cubicBezTo>
                    <a:pt x="831" y="399"/>
                    <a:pt x="766" y="398"/>
                    <a:pt x="660" y="289"/>
                  </a:cubicBezTo>
                  <a:cubicBezTo>
                    <a:pt x="633" y="261"/>
                    <a:pt x="727" y="439"/>
                    <a:pt x="742" y="456"/>
                  </a:cubicBezTo>
                  <a:cubicBezTo>
                    <a:pt x="762" y="479"/>
                    <a:pt x="749" y="603"/>
                    <a:pt x="746" y="614"/>
                  </a:cubicBezTo>
                  <a:cubicBezTo>
                    <a:pt x="691" y="614"/>
                    <a:pt x="691" y="614"/>
                    <a:pt x="691" y="614"/>
                  </a:cubicBezTo>
                  <a:cubicBezTo>
                    <a:pt x="691" y="614"/>
                    <a:pt x="719" y="555"/>
                    <a:pt x="701" y="509"/>
                  </a:cubicBezTo>
                  <a:cubicBezTo>
                    <a:pt x="686" y="469"/>
                    <a:pt x="651" y="417"/>
                    <a:pt x="651" y="417"/>
                  </a:cubicBezTo>
                  <a:cubicBezTo>
                    <a:pt x="651" y="417"/>
                    <a:pt x="684" y="537"/>
                    <a:pt x="646" y="614"/>
                  </a:cubicBezTo>
                  <a:cubicBezTo>
                    <a:pt x="584" y="614"/>
                    <a:pt x="584" y="614"/>
                    <a:pt x="584" y="614"/>
                  </a:cubicBezTo>
                  <a:cubicBezTo>
                    <a:pt x="584" y="614"/>
                    <a:pt x="614" y="568"/>
                    <a:pt x="617" y="547"/>
                  </a:cubicBezTo>
                  <a:cubicBezTo>
                    <a:pt x="621" y="526"/>
                    <a:pt x="623" y="475"/>
                    <a:pt x="576" y="420"/>
                  </a:cubicBezTo>
                  <a:cubicBezTo>
                    <a:pt x="529" y="365"/>
                    <a:pt x="473" y="290"/>
                    <a:pt x="444" y="289"/>
                  </a:cubicBezTo>
                  <a:cubicBezTo>
                    <a:pt x="389" y="286"/>
                    <a:pt x="260" y="338"/>
                    <a:pt x="207" y="389"/>
                  </a:cubicBezTo>
                  <a:cubicBezTo>
                    <a:pt x="179" y="415"/>
                    <a:pt x="162" y="573"/>
                    <a:pt x="160" y="614"/>
                  </a:cubicBezTo>
                  <a:cubicBezTo>
                    <a:pt x="108" y="614"/>
                    <a:pt x="108" y="614"/>
                    <a:pt x="108" y="614"/>
                  </a:cubicBezTo>
                  <a:cubicBezTo>
                    <a:pt x="108" y="614"/>
                    <a:pt x="138" y="384"/>
                    <a:pt x="133" y="417"/>
                  </a:cubicBezTo>
                  <a:cubicBezTo>
                    <a:pt x="130" y="434"/>
                    <a:pt x="138" y="367"/>
                    <a:pt x="120" y="372"/>
                  </a:cubicBezTo>
                  <a:cubicBezTo>
                    <a:pt x="105" y="376"/>
                    <a:pt x="77" y="614"/>
                    <a:pt x="77" y="614"/>
                  </a:cubicBezTo>
                  <a:cubicBezTo>
                    <a:pt x="29" y="614"/>
                    <a:pt x="29" y="614"/>
                    <a:pt x="29" y="614"/>
                  </a:cubicBezTo>
                  <a:cubicBezTo>
                    <a:pt x="29" y="614"/>
                    <a:pt x="73" y="333"/>
                    <a:pt x="47" y="265"/>
                  </a:cubicBezTo>
                  <a:cubicBezTo>
                    <a:pt x="27" y="211"/>
                    <a:pt x="0" y="162"/>
                    <a:pt x="8" y="124"/>
                  </a:cubicBezTo>
                  <a:cubicBezTo>
                    <a:pt x="20" y="65"/>
                    <a:pt x="121" y="0"/>
                    <a:pt x="121"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14">
              <a:extLst>
                <a:ext uri="{FF2B5EF4-FFF2-40B4-BE49-F238E27FC236}">
                  <a16:creationId xmlns:a16="http://schemas.microsoft.com/office/drawing/2014/main" xmlns="" id="{B04ED7D0-D251-43A6-82C5-4FD82E929B65}"/>
                </a:ext>
              </a:extLst>
            </p:cNvPr>
            <p:cNvSpPr>
              <a:spLocks/>
            </p:cNvSpPr>
            <p:nvPr/>
          </p:nvSpPr>
          <p:spPr bwMode="auto">
            <a:xfrm>
              <a:off x="8475110" y="2153439"/>
              <a:ext cx="1851534" cy="1762165"/>
            </a:xfrm>
            <a:custGeom>
              <a:avLst/>
              <a:gdLst>
                <a:gd name="T0" fmla="*/ 809 w 1616"/>
                <a:gd name="T1" fmla="*/ 0 h 1538"/>
                <a:gd name="T2" fmla="*/ 586 w 1616"/>
                <a:gd name="T3" fmla="*/ 543 h 1538"/>
                <a:gd name="T4" fmla="*/ 0 w 1616"/>
                <a:gd name="T5" fmla="*/ 586 h 1538"/>
                <a:gd name="T6" fmla="*/ 448 w 1616"/>
                <a:gd name="T7" fmla="*/ 966 h 1538"/>
                <a:gd name="T8" fmla="*/ 308 w 1616"/>
                <a:gd name="T9" fmla="*/ 1538 h 1538"/>
                <a:gd name="T10" fmla="*/ 809 w 1616"/>
                <a:gd name="T11" fmla="*/ 1229 h 1538"/>
                <a:gd name="T12" fmla="*/ 1307 w 1616"/>
                <a:gd name="T13" fmla="*/ 1538 h 1538"/>
                <a:gd name="T14" fmla="*/ 1167 w 1616"/>
                <a:gd name="T15" fmla="*/ 966 h 1538"/>
                <a:gd name="T16" fmla="*/ 1616 w 1616"/>
                <a:gd name="T17" fmla="*/ 586 h 1538"/>
                <a:gd name="T18" fmla="*/ 1029 w 1616"/>
                <a:gd name="T19" fmla="*/ 543 h 1538"/>
                <a:gd name="T20" fmla="*/ 809 w 1616"/>
                <a:gd name="T21" fmla="*/ 0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16" h="1538">
                  <a:moveTo>
                    <a:pt x="809" y="0"/>
                  </a:moveTo>
                  <a:lnTo>
                    <a:pt x="586" y="543"/>
                  </a:lnTo>
                  <a:lnTo>
                    <a:pt x="0" y="586"/>
                  </a:lnTo>
                  <a:lnTo>
                    <a:pt x="448" y="966"/>
                  </a:lnTo>
                  <a:lnTo>
                    <a:pt x="308" y="1538"/>
                  </a:lnTo>
                  <a:lnTo>
                    <a:pt x="809" y="1229"/>
                  </a:lnTo>
                  <a:lnTo>
                    <a:pt x="1307" y="1538"/>
                  </a:lnTo>
                  <a:lnTo>
                    <a:pt x="1167" y="966"/>
                  </a:lnTo>
                  <a:lnTo>
                    <a:pt x="1616" y="586"/>
                  </a:lnTo>
                  <a:lnTo>
                    <a:pt x="1029" y="543"/>
                  </a:lnTo>
                  <a:lnTo>
                    <a:pt x="809"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18">
              <a:extLst>
                <a:ext uri="{FF2B5EF4-FFF2-40B4-BE49-F238E27FC236}">
                  <a16:creationId xmlns:a16="http://schemas.microsoft.com/office/drawing/2014/main" xmlns="" id="{A85A1B15-A1BB-42EF-8603-1DCACDA12CE1}"/>
                </a:ext>
              </a:extLst>
            </p:cNvPr>
            <p:cNvSpPr>
              <a:spLocks noEditPoints="1"/>
            </p:cNvSpPr>
            <p:nvPr/>
          </p:nvSpPr>
          <p:spPr bwMode="auto">
            <a:xfrm>
              <a:off x="5122545" y="2112697"/>
              <a:ext cx="1123507" cy="1775061"/>
            </a:xfrm>
            <a:custGeom>
              <a:avLst/>
              <a:gdLst>
                <a:gd name="T0" fmla="*/ 263 w 474"/>
                <a:gd name="T1" fmla="*/ 590 h 750"/>
                <a:gd name="T2" fmla="*/ 195 w 474"/>
                <a:gd name="T3" fmla="*/ 562 h 750"/>
                <a:gd name="T4" fmla="*/ 126 w 474"/>
                <a:gd name="T5" fmla="*/ 590 h 750"/>
                <a:gd name="T6" fmla="*/ 97 w 474"/>
                <a:gd name="T7" fmla="*/ 656 h 750"/>
                <a:gd name="T8" fmla="*/ 126 w 474"/>
                <a:gd name="T9" fmla="*/ 722 h 750"/>
                <a:gd name="T10" fmla="*/ 195 w 474"/>
                <a:gd name="T11" fmla="*/ 750 h 750"/>
                <a:gd name="T12" fmla="*/ 263 w 474"/>
                <a:gd name="T13" fmla="*/ 722 h 750"/>
                <a:gd name="T14" fmla="*/ 292 w 474"/>
                <a:gd name="T15" fmla="*/ 656 h 750"/>
                <a:gd name="T16" fmla="*/ 263 w 474"/>
                <a:gd name="T17" fmla="*/ 590 h 750"/>
                <a:gd name="T18" fmla="*/ 406 w 474"/>
                <a:gd name="T19" fmla="*/ 58 h 750"/>
                <a:gd name="T20" fmla="*/ 226 w 474"/>
                <a:gd name="T21" fmla="*/ 0 h 750"/>
                <a:gd name="T22" fmla="*/ 66 w 474"/>
                <a:gd name="T23" fmla="*/ 41 h 750"/>
                <a:gd name="T24" fmla="*/ 0 w 474"/>
                <a:gd name="T25" fmla="*/ 139 h 750"/>
                <a:gd name="T26" fmla="*/ 22 w 474"/>
                <a:gd name="T27" fmla="*/ 199 h 750"/>
                <a:gd name="T28" fmla="*/ 83 w 474"/>
                <a:gd name="T29" fmla="*/ 223 h 750"/>
                <a:gd name="T30" fmla="*/ 147 w 474"/>
                <a:gd name="T31" fmla="*/ 204 h 750"/>
                <a:gd name="T32" fmla="*/ 170 w 474"/>
                <a:gd name="T33" fmla="*/ 149 h 750"/>
                <a:gd name="T34" fmla="*/ 163 w 474"/>
                <a:gd name="T35" fmla="*/ 102 h 750"/>
                <a:gd name="T36" fmla="*/ 151 w 474"/>
                <a:gd name="T37" fmla="*/ 60 h 750"/>
                <a:gd name="T38" fmla="*/ 182 w 474"/>
                <a:gd name="T39" fmla="*/ 46 h 750"/>
                <a:gd name="T40" fmla="*/ 219 w 474"/>
                <a:gd name="T41" fmla="*/ 42 h 750"/>
                <a:gd name="T42" fmla="*/ 297 w 474"/>
                <a:gd name="T43" fmla="*/ 75 h 750"/>
                <a:gd name="T44" fmla="*/ 327 w 474"/>
                <a:gd name="T45" fmla="*/ 164 h 750"/>
                <a:gd name="T46" fmla="*/ 285 w 474"/>
                <a:gd name="T47" fmla="*/ 273 h 750"/>
                <a:gd name="T48" fmla="*/ 170 w 474"/>
                <a:gd name="T49" fmla="*/ 320 h 750"/>
                <a:gd name="T50" fmla="*/ 170 w 474"/>
                <a:gd name="T51" fmla="*/ 517 h 750"/>
                <a:gd name="T52" fmla="*/ 215 w 474"/>
                <a:gd name="T53" fmla="*/ 517 h 750"/>
                <a:gd name="T54" fmla="*/ 218 w 474"/>
                <a:gd name="T55" fmla="*/ 448 h 750"/>
                <a:gd name="T56" fmla="*/ 405 w 474"/>
                <a:gd name="T57" fmla="*/ 375 h 750"/>
                <a:gd name="T58" fmla="*/ 474 w 474"/>
                <a:gd name="T59" fmla="*/ 210 h 750"/>
                <a:gd name="T60" fmla="*/ 406 w 474"/>
                <a:gd name="T61" fmla="*/ 58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4" h="750">
                  <a:moveTo>
                    <a:pt x="263" y="590"/>
                  </a:moveTo>
                  <a:cubicBezTo>
                    <a:pt x="244" y="571"/>
                    <a:pt x="221" y="562"/>
                    <a:pt x="195" y="562"/>
                  </a:cubicBezTo>
                  <a:cubicBezTo>
                    <a:pt x="169" y="562"/>
                    <a:pt x="146" y="571"/>
                    <a:pt x="126" y="590"/>
                  </a:cubicBezTo>
                  <a:cubicBezTo>
                    <a:pt x="107" y="608"/>
                    <a:pt x="97" y="631"/>
                    <a:pt x="97" y="656"/>
                  </a:cubicBezTo>
                  <a:cubicBezTo>
                    <a:pt x="97" y="682"/>
                    <a:pt x="107" y="704"/>
                    <a:pt x="126" y="722"/>
                  </a:cubicBezTo>
                  <a:cubicBezTo>
                    <a:pt x="146" y="741"/>
                    <a:pt x="169" y="750"/>
                    <a:pt x="195" y="750"/>
                  </a:cubicBezTo>
                  <a:cubicBezTo>
                    <a:pt x="221" y="750"/>
                    <a:pt x="244" y="741"/>
                    <a:pt x="263" y="722"/>
                  </a:cubicBezTo>
                  <a:cubicBezTo>
                    <a:pt x="282" y="704"/>
                    <a:pt x="292" y="682"/>
                    <a:pt x="292" y="656"/>
                  </a:cubicBezTo>
                  <a:cubicBezTo>
                    <a:pt x="292" y="631"/>
                    <a:pt x="282" y="608"/>
                    <a:pt x="263" y="590"/>
                  </a:cubicBezTo>
                  <a:moveTo>
                    <a:pt x="406" y="58"/>
                  </a:moveTo>
                  <a:cubicBezTo>
                    <a:pt x="360" y="19"/>
                    <a:pt x="300" y="0"/>
                    <a:pt x="226" y="0"/>
                  </a:cubicBezTo>
                  <a:cubicBezTo>
                    <a:pt x="164" y="0"/>
                    <a:pt x="111" y="14"/>
                    <a:pt x="66" y="41"/>
                  </a:cubicBezTo>
                  <a:cubicBezTo>
                    <a:pt x="22" y="68"/>
                    <a:pt x="0" y="101"/>
                    <a:pt x="0" y="139"/>
                  </a:cubicBezTo>
                  <a:cubicBezTo>
                    <a:pt x="0" y="163"/>
                    <a:pt x="7" y="183"/>
                    <a:pt x="22" y="199"/>
                  </a:cubicBezTo>
                  <a:cubicBezTo>
                    <a:pt x="37" y="215"/>
                    <a:pt x="57" y="223"/>
                    <a:pt x="83" y="223"/>
                  </a:cubicBezTo>
                  <a:cubicBezTo>
                    <a:pt x="110" y="223"/>
                    <a:pt x="131" y="217"/>
                    <a:pt x="147" y="204"/>
                  </a:cubicBezTo>
                  <a:cubicBezTo>
                    <a:pt x="162" y="191"/>
                    <a:pt x="170" y="173"/>
                    <a:pt x="170" y="149"/>
                  </a:cubicBezTo>
                  <a:cubicBezTo>
                    <a:pt x="170" y="135"/>
                    <a:pt x="167" y="119"/>
                    <a:pt x="163" y="102"/>
                  </a:cubicBezTo>
                  <a:cubicBezTo>
                    <a:pt x="158" y="85"/>
                    <a:pt x="154" y="71"/>
                    <a:pt x="151" y="60"/>
                  </a:cubicBezTo>
                  <a:cubicBezTo>
                    <a:pt x="161" y="54"/>
                    <a:pt x="171" y="49"/>
                    <a:pt x="182" y="46"/>
                  </a:cubicBezTo>
                  <a:cubicBezTo>
                    <a:pt x="193" y="44"/>
                    <a:pt x="205" y="42"/>
                    <a:pt x="219" y="42"/>
                  </a:cubicBezTo>
                  <a:cubicBezTo>
                    <a:pt x="252" y="42"/>
                    <a:pt x="278" y="53"/>
                    <a:pt x="297" y="75"/>
                  </a:cubicBezTo>
                  <a:cubicBezTo>
                    <a:pt x="317" y="97"/>
                    <a:pt x="327" y="127"/>
                    <a:pt x="327" y="164"/>
                  </a:cubicBezTo>
                  <a:cubicBezTo>
                    <a:pt x="327" y="210"/>
                    <a:pt x="313" y="246"/>
                    <a:pt x="285" y="273"/>
                  </a:cubicBezTo>
                  <a:cubicBezTo>
                    <a:pt x="257" y="300"/>
                    <a:pt x="219" y="316"/>
                    <a:pt x="170" y="320"/>
                  </a:cubicBezTo>
                  <a:cubicBezTo>
                    <a:pt x="170" y="517"/>
                    <a:pt x="170" y="517"/>
                    <a:pt x="170" y="517"/>
                  </a:cubicBezTo>
                  <a:cubicBezTo>
                    <a:pt x="215" y="517"/>
                    <a:pt x="215" y="517"/>
                    <a:pt x="215" y="517"/>
                  </a:cubicBezTo>
                  <a:cubicBezTo>
                    <a:pt x="218" y="448"/>
                    <a:pt x="218" y="448"/>
                    <a:pt x="218" y="448"/>
                  </a:cubicBezTo>
                  <a:cubicBezTo>
                    <a:pt x="296" y="442"/>
                    <a:pt x="358" y="418"/>
                    <a:pt x="405" y="375"/>
                  </a:cubicBezTo>
                  <a:cubicBezTo>
                    <a:pt x="451" y="333"/>
                    <a:pt x="474" y="278"/>
                    <a:pt x="474" y="210"/>
                  </a:cubicBezTo>
                  <a:cubicBezTo>
                    <a:pt x="474" y="147"/>
                    <a:pt x="452" y="96"/>
                    <a:pt x="406" y="58"/>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5">
              <a:extLst>
                <a:ext uri="{FF2B5EF4-FFF2-40B4-BE49-F238E27FC236}">
                  <a16:creationId xmlns:a16="http://schemas.microsoft.com/office/drawing/2014/main" xmlns="" id="{FECFE29F-B5A1-422E-8AEB-F2C0C4BBE3FE}"/>
                </a:ext>
              </a:extLst>
            </p:cNvPr>
            <p:cNvSpPr>
              <a:spLocks/>
            </p:cNvSpPr>
            <p:nvPr/>
          </p:nvSpPr>
          <p:spPr bwMode="auto">
            <a:xfrm>
              <a:off x="7438195" y="4141465"/>
              <a:ext cx="2829907" cy="1813505"/>
            </a:xfrm>
            <a:custGeom>
              <a:avLst/>
              <a:gdLst>
                <a:gd name="T0" fmla="*/ 453 w 1254"/>
                <a:gd name="T1" fmla="*/ 472 h 802"/>
                <a:gd name="T2" fmla="*/ 477 w 1254"/>
                <a:gd name="T3" fmla="*/ 762 h 802"/>
                <a:gd name="T4" fmla="*/ 460 w 1254"/>
                <a:gd name="T5" fmla="*/ 802 h 802"/>
                <a:gd name="T6" fmla="*/ 519 w 1254"/>
                <a:gd name="T7" fmla="*/ 802 h 802"/>
                <a:gd name="T8" fmla="*/ 548 w 1254"/>
                <a:gd name="T9" fmla="*/ 802 h 802"/>
                <a:gd name="T10" fmla="*/ 560 w 1254"/>
                <a:gd name="T11" fmla="*/ 541 h 802"/>
                <a:gd name="T12" fmla="*/ 729 w 1254"/>
                <a:gd name="T13" fmla="*/ 523 h 802"/>
                <a:gd name="T14" fmla="*/ 915 w 1254"/>
                <a:gd name="T15" fmla="*/ 469 h 802"/>
                <a:gd name="T16" fmla="*/ 960 w 1254"/>
                <a:gd name="T17" fmla="*/ 528 h 802"/>
                <a:gd name="T18" fmla="*/ 1048 w 1254"/>
                <a:gd name="T19" fmla="*/ 566 h 802"/>
                <a:gd name="T20" fmla="*/ 1023 w 1254"/>
                <a:gd name="T21" fmla="*/ 712 h 802"/>
                <a:gd name="T22" fmla="*/ 975 w 1254"/>
                <a:gd name="T23" fmla="*/ 802 h 802"/>
                <a:gd name="T24" fmla="*/ 1037 w 1254"/>
                <a:gd name="T25" fmla="*/ 802 h 802"/>
                <a:gd name="T26" fmla="*/ 1119 w 1254"/>
                <a:gd name="T27" fmla="*/ 605 h 802"/>
                <a:gd name="T28" fmla="*/ 1126 w 1254"/>
                <a:gd name="T29" fmla="*/ 802 h 802"/>
                <a:gd name="T30" fmla="*/ 1181 w 1254"/>
                <a:gd name="T31" fmla="*/ 802 h 802"/>
                <a:gd name="T32" fmla="*/ 1191 w 1254"/>
                <a:gd name="T33" fmla="*/ 397 h 802"/>
                <a:gd name="T34" fmla="*/ 1205 w 1254"/>
                <a:gd name="T35" fmla="*/ 268 h 802"/>
                <a:gd name="T36" fmla="*/ 1211 w 1254"/>
                <a:gd name="T37" fmla="*/ 569 h 802"/>
                <a:gd name="T38" fmla="*/ 1234 w 1254"/>
                <a:gd name="T39" fmla="*/ 545 h 802"/>
                <a:gd name="T40" fmla="*/ 1229 w 1254"/>
                <a:gd name="T41" fmla="*/ 172 h 802"/>
                <a:gd name="T42" fmla="*/ 1117 w 1254"/>
                <a:gd name="T43" fmla="*/ 71 h 802"/>
                <a:gd name="T44" fmla="*/ 460 w 1254"/>
                <a:gd name="T45" fmla="*/ 76 h 802"/>
                <a:gd name="T46" fmla="*/ 125 w 1254"/>
                <a:gd name="T47" fmla="*/ 41 h 802"/>
                <a:gd name="T48" fmla="*/ 97 w 1254"/>
                <a:gd name="T49" fmla="*/ 0 h 802"/>
                <a:gd name="T50" fmla="*/ 92 w 1254"/>
                <a:gd name="T51" fmla="*/ 62 h 802"/>
                <a:gd name="T52" fmla="*/ 80 w 1254"/>
                <a:gd name="T53" fmla="*/ 126 h 802"/>
                <a:gd name="T54" fmla="*/ 70 w 1254"/>
                <a:gd name="T55" fmla="*/ 169 h 802"/>
                <a:gd name="T56" fmla="*/ 37 w 1254"/>
                <a:gd name="T57" fmla="*/ 251 h 802"/>
                <a:gd name="T58" fmla="*/ 1 w 1254"/>
                <a:gd name="T59" fmla="*/ 293 h 802"/>
                <a:gd name="T60" fmla="*/ 73 w 1254"/>
                <a:gd name="T61" fmla="*/ 334 h 802"/>
                <a:gd name="T62" fmla="*/ 105 w 1254"/>
                <a:gd name="T63" fmla="*/ 312 h 802"/>
                <a:gd name="T64" fmla="*/ 226 w 1254"/>
                <a:gd name="T65" fmla="*/ 281 h 802"/>
                <a:gd name="T66" fmla="*/ 453 w 1254"/>
                <a:gd name="T67" fmla="*/ 47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4" h="802">
                  <a:moveTo>
                    <a:pt x="453" y="472"/>
                  </a:moveTo>
                  <a:cubicBezTo>
                    <a:pt x="474" y="492"/>
                    <a:pt x="508" y="554"/>
                    <a:pt x="477" y="762"/>
                  </a:cubicBezTo>
                  <a:cubicBezTo>
                    <a:pt x="475" y="780"/>
                    <a:pt x="456" y="793"/>
                    <a:pt x="460" y="802"/>
                  </a:cubicBezTo>
                  <a:cubicBezTo>
                    <a:pt x="460" y="802"/>
                    <a:pt x="484" y="802"/>
                    <a:pt x="519" y="802"/>
                  </a:cubicBezTo>
                  <a:cubicBezTo>
                    <a:pt x="548" y="802"/>
                    <a:pt x="548" y="802"/>
                    <a:pt x="548" y="802"/>
                  </a:cubicBezTo>
                  <a:cubicBezTo>
                    <a:pt x="564" y="802"/>
                    <a:pt x="561" y="556"/>
                    <a:pt x="560" y="541"/>
                  </a:cubicBezTo>
                  <a:cubicBezTo>
                    <a:pt x="558" y="505"/>
                    <a:pt x="630" y="545"/>
                    <a:pt x="729" y="523"/>
                  </a:cubicBezTo>
                  <a:cubicBezTo>
                    <a:pt x="810" y="505"/>
                    <a:pt x="902" y="481"/>
                    <a:pt x="915" y="469"/>
                  </a:cubicBezTo>
                  <a:cubicBezTo>
                    <a:pt x="929" y="458"/>
                    <a:pt x="932" y="503"/>
                    <a:pt x="960" y="528"/>
                  </a:cubicBezTo>
                  <a:cubicBezTo>
                    <a:pt x="988" y="553"/>
                    <a:pt x="1017" y="566"/>
                    <a:pt x="1048" y="566"/>
                  </a:cubicBezTo>
                  <a:cubicBezTo>
                    <a:pt x="1080" y="566"/>
                    <a:pt x="1053" y="659"/>
                    <a:pt x="1023" y="712"/>
                  </a:cubicBezTo>
                  <a:cubicBezTo>
                    <a:pt x="993" y="765"/>
                    <a:pt x="975" y="802"/>
                    <a:pt x="975" y="802"/>
                  </a:cubicBezTo>
                  <a:cubicBezTo>
                    <a:pt x="1037" y="802"/>
                    <a:pt x="1037" y="802"/>
                    <a:pt x="1037" y="802"/>
                  </a:cubicBezTo>
                  <a:cubicBezTo>
                    <a:pt x="1037" y="802"/>
                    <a:pt x="1105" y="634"/>
                    <a:pt x="1119" y="605"/>
                  </a:cubicBezTo>
                  <a:cubicBezTo>
                    <a:pt x="1133" y="575"/>
                    <a:pt x="1126" y="771"/>
                    <a:pt x="1126" y="802"/>
                  </a:cubicBezTo>
                  <a:cubicBezTo>
                    <a:pt x="1181" y="802"/>
                    <a:pt x="1181" y="802"/>
                    <a:pt x="1181" y="802"/>
                  </a:cubicBezTo>
                  <a:cubicBezTo>
                    <a:pt x="1182" y="708"/>
                    <a:pt x="1184" y="462"/>
                    <a:pt x="1191" y="397"/>
                  </a:cubicBezTo>
                  <a:cubicBezTo>
                    <a:pt x="1195" y="358"/>
                    <a:pt x="1197" y="262"/>
                    <a:pt x="1205" y="268"/>
                  </a:cubicBezTo>
                  <a:cubicBezTo>
                    <a:pt x="1210" y="272"/>
                    <a:pt x="1192" y="483"/>
                    <a:pt x="1211" y="569"/>
                  </a:cubicBezTo>
                  <a:cubicBezTo>
                    <a:pt x="1220" y="611"/>
                    <a:pt x="1243" y="569"/>
                    <a:pt x="1234" y="545"/>
                  </a:cubicBezTo>
                  <a:cubicBezTo>
                    <a:pt x="1217" y="496"/>
                    <a:pt x="1254" y="236"/>
                    <a:pt x="1229" y="172"/>
                  </a:cubicBezTo>
                  <a:cubicBezTo>
                    <a:pt x="1210" y="124"/>
                    <a:pt x="1243" y="71"/>
                    <a:pt x="1117" y="71"/>
                  </a:cubicBezTo>
                  <a:cubicBezTo>
                    <a:pt x="991" y="71"/>
                    <a:pt x="528" y="78"/>
                    <a:pt x="460" y="76"/>
                  </a:cubicBezTo>
                  <a:cubicBezTo>
                    <a:pt x="325" y="71"/>
                    <a:pt x="172" y="53"/>
                    <a:pt x="125" y="41"/>
                  </a:cubicBezTo>
                  <a:cubicBezTo>
                    <a:pt x="106" y="36"/>
                    <a:pt x="123" y="3"/>
                    <a:pt x="97" y="0"/>
                  </a:cubicBezTo>
                  <a:cubicBezTo>
                    <a:pt x="97" y="0"/>
                    <a:pt x="90" y="50"/>
                    <a:pt x="92" y="62"/>
                  </a:cubicBezTo>
                  <a:cubicBezTo>
                    <a:pt x="93" y="74"/>
                    <a:pt x="88" y="116"/>
                    <a:pt x="80" y="126"/>
                  </a:cubicBezTo>
                  <a:cubicBezTo>
                    <a:pt x="73" y="135"/>
                    <a:pt x="66" y="145"/>
                    <a:pt x="70" y="169"/>
                  </a:cubicBezTo>
                  <a:cubicBezTo>
                    <a:pt x="74" y="194"/>
                    <a:pt x="44" y="226"/>
                    <a:pt x="37" y="251"/>
                  </a:cubicBezTo>
                  <a:cubicBezTo>
                    <a:pt x="30" y="277"/>
                    <a:pt x="3" y="273"/>
                    <a:pt x="1" y="293"/>
                  </a:cubicBezTo>
                  <a:cubicBezTo>
                    <a:pt x="0" y="313"/>
                    <a:pt x="45" y="335"/>
                    <a:pt x="73" y="334"/>
                  </a:cubicBezTo>
                  <a:cubicBezTo>
                    <a:pt x="101" y="334"/>
                    <a:pt x="93" y="320"/>
                    <a:pt x="105" y="312"/>
                  </a:cubicBezTo>
                  <a:cubicBezTo>
                    <a:pt x="118" y="305"/>
                    <a:pt x="167" y="311"/>
                    <a:pt x="226" y="281"/>
                  </a:cubicBezTo>
                  <a:cubicBezTo>
                    <a:pt x="261" y="259"/>
                    <a:pt x="436" y="455"/>
                    <a:pt x="453" y="472"/>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6">
              <a:extLst>
                <a:ext uri="{FF2B5EF4-FFF2-40B4-BE49-F238E27FC236}">
                  <a16:creationId xmlns:a16="http://schemas.microsoft.com/office/drawing/2014/main" xmlns="" id="{B4F75827-EFE5-42E6-A0BA-A5DBB816C47C}"/>
                </a:ext>
              </a:extLst>
            </p:cNvPr>
            <p:cNvSpPr>
              <a:spLocks/>
            </p:cNvSpPr>
            <p:nvPr/>
          </p:nvSpPr>
          <p:spPr bwMode="auto">
            <a:xfrm>
              <a:off x="7527821" y="4217743"/>
              <a:ext cx="90580" cy="102022"/>
            </a:xfrm>
            <a:custGeom>
              <a:avLst/>
              <a:gdLst>
                <a:gd name="T0" fmla="*/ 0 w 40"/>
                <a:gd name="T1" fmla="*/ 0 h 45"/>
                <a:gd name="T2" fmla="*/ 38 w 40"/>
                <a:gd name="T3" fmla="*/ 45 h 45"/>
                <a:gd name="T4" fmla="*/ 39 w 40"/>
                <a:gd name="T5" fmla="*/ 15 h 45"/>
                <a:gd name="T6" fmla="*/ 0 w 40"/>
                <a:gd name="T7" fmla="*/ 0 h 45"/>
              </a:gdLst>
              <a:ahLst/>
              <a:cxnLst>
                <a:cxn ang="0">
                  <a:pos x="T0" y="T1"/>
                </a:cxn>
                <a:cxn ang="0">
                  <a:pos x="T2" y="T3"/>
                </a:cxn>
                <a:cxn ang="0">
                  <a:pos x="T4" y="T5"/>
                </a:cxn>
                <a:cxn ang="0">
                  <a:pos x="T6" y="T7"/>
                </a:cxn>
              </a:cxnLst>
              <a:rect l="0" t="0" r="r" b="b"/>
              <a:pathLst>
                <a:path w="40" h="45">
                  <a:moveTo>
                    <a:pt x="0" y="0"/>
                  </a:moveTo>
                  <a:cubicBezTo>
                    <a:pt x="6" y="35"/>
                    <a:pt x="38" y="45"/>
                    <a:pt x="38" y="45"/>
                  </a:cubicBezTo>
                  <a:cubicBezTo>
                    <a:pt x="38" y="45"/>
                    <a:pt x="40" y="23"/>
                    <a:pt x="39" y="15"/>
                  </a:cubicBezTo>
                  <a:cubicBezTo>
                    <a:pt x="38" y="6"/>
                    <a:pt x="0" y="0"/>
                    <a:pt x="0"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118" name="Inhaltsplatzhalter 5">
              <a:extLst>
                <a:ext uri="{FF2B5EF4-FFF2-40B4-BE49-F238E27FC236}">
                  <a16:creationId xmlns:a16="http://schemas.microsoft.com/office/drawing/2014/main" xmlns="" id="{9D0CC4C0-D041-43A8-A749-3FC5CEF351EE}"/>
                </a:ext>
              </a:extLst>
            </p:cNvPr>
            <p:cNvGraphicFramePr>
              <a:graphicFrameLocks/>
            </p:cNvGraphicFramePr>
            <p:nvPr>
              <p:extLst>
                <p:ext uri="{D42A27DB-BD31-4B8C-83A1-F6EECF244321}">
                  <p14:modId xmlns:p14="http://schemas.microsoft.com/office/powerpoint/2010/main" val="2450199666"/>
                </p:ext>
              </p:extLst>
            </p:nvPr>
          </p:nvGraphicFramePr>
          <p:xfrm>
            <a:off x="2918512" y="1987751"/>
            <a:ext cx="8051634" cy="4103054"/>
          </p:xfrm>
          <a:graphic>
            <a:graphicData uri="http://schemas.openxmlformats.org/drawingml/2006/chart">
              <c:chart xmlns:c="http://schemas.openxmlformats.org/drawingml/2006/chart" xmlns:r="http://schemas.openxmlformats.org/officeDocument/2006/relationships" r:id="rId3"/>
            </a:graphicData>
          </a:graphic>
        </p:graphicFrame>
      </p:grpSp>
      <p:sp>
        <p:nvSpPr>
          <p:cNvPr id="32" name="Textplatzhalter 1">
            <a:extLst>
              <a:ext uri="{FF2B5EF4-FFF2-40B4-BE49-F238E27FC236}">
                <a16:creationId xmlns:a16="http://schemas.microsoft.com/office/drawing/2014/main" xmlns="" id="{2B6731F4-88B9-4E10-876A-C0317D4343B3}"/>
              </a:ext>
            </a:extLst>
          </p:cNvPr>
          <p:cNvSpPr txBox="1">
            <a:spLocks/>
          </p:cNvSpPr>
          <p:nvPr/>
        </p:nvSpPr>
        <p:spPr>
          <a:xfrm>
            <a:off x="1491743" y="479129"/>
            <a:ext cx="6575307"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Restrukturierungskonzept</a:t>
            </a:r>
            <a:r>
              <a:rPr lang="en-GB" dirty="0"/>
              <a:t>: Portfolio-Analyse</a:t>
            </a:r>
          </a:p>
        </p:txBody>
      </p:sp>
    </p:spTree>
    <p:extLst>
      <p:ext uri="{BB962C8B-B14F-4D97-AF65-F5344CB8AC3E}">
        <p14:creationId xmlns:p14="http://schemas.microsoft.com/office/powerpoint/2010/main" val="2251849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Maßnahmen zur Bewältigung der Krise: Die Grundlagen</a:t>
            </a:r>
          </a:p>
          <a:p>
            <a:endParaRPr lang="en-GB" dirty="0"/>
          </a:p>
        </p:txBody>
      </p:sp>
    </p:spTree>
    <p:extLst>
      <p:ext uri="{BB962C8B-B14F-4D97-AF65-F5344CB8AC3E}">
        <p14:creationId xmlns:p14="http://schemas.microsoft.com/office/powerpoint/2010/main" val="2535011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6714" y="483804"/>
            <a:ext cx="8124160" cy="697353"/>
          </a:xfrm>
        </p:spPr>
        <p:txBody>
          <a:bodyPr>
            <a:noAutofit/>
          </a:bodyPr>
          <a:lstStyle/>
          <a:p>
            <a:r>
              <a:rPr lang="en-GB" dirty="0"/>
              <a:t>Maßnahmen zur Bewältigung der Krise: Die Grundlag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0259" y="2134764"/>
            <a:ext cx="2392910"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Entwicklung von </a:t>
            </a:r>
            <a:r>
              <a:rPr lang="en-GB" sz="2200" dirty="0" err="1">
                <a:solidFill>
                  <a:srgbClr val="245473"/>
                </a:solidFill>
                <a:latin typeface="+mj-lt"/>
                <a:ea typeface="Open Sans Light" panose="020B0306030504020204" pitchFamily="34" charset="0"/>
                <a:cs typeface="Open Sans Light" panose="020B0306030504020204" pitchFamily="34" charset="0"/>
              </a:rPr>
              <a:t>Restrukturierungs-maßnahmen</a:t>
            </a:r>
            <a:r>
              <a:rPr lang="en-GB" sz="2200" dirty="0">
                <a:solidFill>
                  <a:srgbClr val="245473"/>
                </a:solidFill>
                <a:latin typeface="+mj-lt"/>
                <a:ea typeface="Open Sans Light" panose="020B0306030504020204" pitchFamily="34" charset="0"/>
                <a:cs typeface="Open Sans Light" panose="020B0306030504020204" pitchFamily="34" charset="0"/>
              </a:rPr>
              <a:t>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folgt grundsätzlich vier zentralen Anforderungen.</a:t>
            </a:r>
          </a:p>
        </p:txBody>
      </p:sp>
      <p:sp>
        <p:nvSpPr>
          <p:cNvPr id="33" name="Freeform 39">
            <a:extLst>
              <a:ext uri="{FF2B5EF4-FFF2-40B4-BE49-F238E27FC236}">
                <a16:creationId xmlns:a16="http://schemas.microsoft.com/office/drawing/2014/main" xmlns="" id="{E307E59B-936A-46F0-B197-E4F3FA985B26}"/>
              </a:ext>
            </a:extLst>
          </p:cNvPr>
          <p:cNvSpPr>
            <a:spLocks/>
          </p:cNvSpPr>
          <p:nvPr/>
        </p:nvSpPr>
        <p:spPr bwMode="auto">
          <a:xfrm>
            <a:off x="2908777" y="2120434"/>
            <a:ext cx="4395834" cy="181393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4" name="Freeform 13">
            <a:extLst>
              <a:ext uri="{FF2B5EF4-FFF2-40B4-BE49-F238E27FC236}">
                <a16:creationId xmlns:a16="http://schemas.microsoft.com/office/drawing/2014/main" xmlns="" id="{1E2AF4C2-519B-4B35-9A82-D4D37E7DE282}"/>
              </a:ext>
            </a:extLst>
          </p:cNvPr>
          <p:cNvSpPr>
            <a:spLocks/>
          </p:cNvSpPr>
          <p:nvPr/>
        </p:nvSpPr>
        <p:spPr bwMode="auto">
          <a:xfrm>
            <a:off x="3322943" y="2120436"/>
            <a:ext cx="422969" cy="1806604"/>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5" name="Freeform 37">
            <a:extLst>
              <a:ext uri="{FF2B5EF4-FFF2-40B4-BE49-F238E27FC236}">
                <a16:creationId xmlns:a16="http://schemas.microsoft.com/office/drawing/2014/main" xmlns="" id="{41E6CB8C-A6FA-479A-931F-CA10DB775A99}"/>
              </a:ext>
            </a:extLst>
          </p:cNvPr>
          <p:cNvSpPr>
            <a:spLocks/>
          </p:cNvSpPr>
          <p:nvPr/>
        </p:nvSpPr>
        <p:spPr bwMode="auto">
          <a:xfrm>
            <a:off x="7393107" y="2110499"/>
            <a:ext cx="4540687" cy="1813931"/>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6" name="Freeform 15">
            <a:extLst>
              <a:ext uri="{FF2B5EF4-FFF2-40B4-BE49-F238E27FC236}">
                <a16:creationId xmlns:a16="http://schemas.microsoft.com/office/drawing/2014/main" xmlns="" id="{D064C426-8AA4-45AE-BC65-9727FA187731}"/>
              </a:ext>
            </a:extLst>
          </p:cNvPr>
          <p:cNvSpPr>
            <a:spLocks/>
          </p:cNvSpPr>
          <p:nvPr/>
        </p:nvSpPr>
        <p:spPr bwMode="auto">
          <a:xfrm>
            <a:off x="7725248" y="2449763"/>
            <a:ext cx="818717" cy="1467864"/>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37" name="Freeform 35">
            <a:extLst>
              <a:ext uri="{FF2B5EF4-FFF2-40B4-BE49-F238E27FC236}">
                <a16:creationId xmlns:a16="http://schemas.microsoft.com/office/drawing/2014/main" xmlns="" id="{EDFE4ADA-684F-43B5-A253-E78BADD5F456}"/>
              </a:ext>
            </a:extLst>
          </p:cNvPr>
          <p:cNvSpPr>
            <a:spLocks/>
          </p:cNvSpPr>
          <p:nvPr/>
        </p:nvSpPr>
        <p:spPr bwMode="auto">
          <a:xfrm>
            <a:off x="2783226" y="4224357"/>
            <a:ext cx="4527781" cy="1813931"/>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8" name="Freeform 16">
            <a:extLst>
              <a:ext uri="{FF2B5EF4-FFF2-40B4-BE49-F238E27FC236}">
                <a16:creationId xmlns:a16="http://schemas.microsoft.com/office/drawing/2014/main" xmlns="" id="{4D52DCEB-DFB6-42BA-A0E9-958A7DBB6CCA}"/>
              </a:ext>
            </a:extLst>
          </p:cNvPr>
          <p:cNvSpPr>
            <a:spLocks/>
          </p:cNvSpPr>
          <p:nvPr/>
        </p:nvSpPr>
        <p:spPr bwMode="auto">
          <a:xfrm>
            <a:off x="3188932" y="4608060"/>
            <a:ext cx="739150" cy="143022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400" b="1" dirty="0">
              <a:solidFill>
                <a:schemeClr val="accent1">
                  <a:lumMod val="60000"/>
                  <a:lumOff val="40000"/>
                </a:schemeClr>
              </a:solidFill>
              <a:latin typeface="+mj-lt"/>
            </a:endParaRPr>
          </a:p>
        </p:txBody>
      </p:sp>
      <p:sp>
        <p:nvSpPr>
          <p:cNvPr id="39" name="Freeform 16">
            <a:extLst>
              <a:ext uri="{FF2B5EF4-FFF2-40B4-BE49-F238E27FC236}">
                <a16:creationId xmlns:a16="http://schemas.microsoft.com/office/drawing/2014/main" xmlns="" id="{4E99F8D4-9DA5-45E7-90C3-01358C079E46}"/>
              </a:ext>
            </a:extLst>
          </p:cNvPr>
          <p:cNvSpPr>
            <a:spLocks noEditPoints="1"/>
          </p:cNvSpPr>
          <p:nvPr/>
        </p:nvSpPr>
        <p:spPr bwMode="auto">
          <a:xfrm>
            <a:off x="7363561" y="4224357"/>
            <a:ext cx="4565070" cy="1813931"/>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0" name="Freeform 5">
            <a:extLst>
              <a:ext uri="{FF2B5EF4-FFF2-40B4-BE49-F238E27FC236}">
                <a16:creationId xmlns:a16="http://schemas.microsoft.com/office/drawing/2014/main" xmlns="" id="{1B0C1417-243B-4D46-901E-D7CD5B9DE3FB}"/>
              </a:ext>
            </a:extLst>
          </p:cNvPr>
          <p:cNvSpPr>
            <a:spLocks/>
          </p:cNvSpPr>
          <p:nvPr/>
        </p:nvSpPr>
        <p:spPr bwMode="auto">
          <a:xfrm>
            <a:off x="8118327" y="4224357"/>
            <a:ext cx="437733" cy="1813931"/>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1" name="TextBox 27">
            <a:extLst>
              <a:ext uri="{FF2B5EF4-FFF2-40B4-BE49-F238E27FC236}">
                <a16:creationId xmlns:a16="http://schemas.microsoft.com/office/drawing/2014/main" xmlns="" id="{157EBE67-A33C-4BCE-A078-E2B0F31E255F}"/>
              </a:ext>
            </a:extLst>
          </p:cNvPr>
          <p:cNvSpPr txBox="1"/>
          <p:nvPr/>
        </p:nvSpPr>
        <p:spPr>
          <a:xfrm>
            <a:off x="8448991" y="4563052"/>
            <a:ext cx="3484803" cy="1195584"/>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Insgesamt erfordert eine </a:t>
            </a:r>
            <a:r>
              <a:rPr lang="en-GB" sz="2000" dirty="0" err="1">
                <a:solidFill>
                  <a:schemeClr val="bg1"/>
                </a:solidFill>
                <a:latin typeface="+mj-lt"/>
                <a:ea typeface="Lato Light" charset="0"/>
                <a:cs typeface="Lato Light" charset="0"/>
              </a:rPr>
              <a:t>nachhaltige</a:t>
            </a:r>
            <a:r>
              <a:rPr lang="en-GB" sz="2000" dirty="0">
                <a:solidFill>
                  <a:schemeClr val="bg1"/>
                </a:solidFill>
                <a:latin typeface="+mj-lt"/>
                <a:ea typeface="Lato Light" charset="0"/>
                <a:cs typeface="Lato Light" charset="0"/>
              </a:rPr>
              <a:t> Rehabilitation ein klares Konzept zur Stärkung bzw. Wiedererlangung der Wettbewerbsfähigkeit.</a:t>
            </a:r>
          </a:p>
        </p:txBody>
      </p:sp>
      <p:sp>
        <p:nvSpPr>
          <p:cNvPr id="42" name="TextBox 28">
            <a:extLst>
              <a:ext uri="{FF2B5EF4-FFF2-40B4-BE49-F238E27FC236}">
                <a16:creationId xmlns:a16="http://schemas.microsoft.com/office/drawing/2014/main" xmlns="" id="{368B1122-6E1D-4C73-8329-2127EE559E06}"/>
              </a:ext>
            </a:extLst>
          </p:cNvPr>
          <p:cNvSpPr txBox="1"/>
          <p:nvPr/>
        </p:nvSpPr>
        <p:spPr>
          <a:xfrm>
            <a:off x="8118326" y="4248466"/>
            <a:ext cx="4002337" cy="338554"/>
          </a:xfrm>
          <a:prstGeom prst="rect">
            <a:avLst/>
          </a:prstGeom>
          <a:noFill/>
        </p:spPr>
        <p:txBody>
          <a:bodyPr wrap="square" rtlCol="0">
            <a:spAutoFit/>
          </a:bodyPr>
          <a:lstStyle/>
          <a:p>
            <a:r>
              <a:rPr lang="en-GB" sz="1600" b="1" dirty="0">
                <a:solidFill>
                  <a:schemeClr val="bg1"/>
                </a:solidFill>
                <a:latin typeface="+mj-lt"/>
                <a:ea typeface="Roboto" charset="0"/>
                <a:cs typeface="Roboto" charset="0"/>
              </a:rPr>
              <a:t>Nachhaltige Wettbewerbsfähigkeit als Endziel</a:t>
            </a:r>
          </a:p>
        </p:txBody>
      </p:sp>
      <p:sp>
        <p:nvSpPr>
          <p:cNvPr id="43" name="TextBox 29">
            <a:extLst>
              <a:ext uri="{FF2B5EF4-FFF2-40B4-BE49-F238E27FC236}">
                <a16:creationId xmlns:a16="http://schemas.microsoft.com/office/drawing/2014/main" xmlns="" id="{39B7BE9A-4A12-4A3A-9E09-19CE818C3FBE}"/>
              </a:ext>
            </a:extLst>
          </p:cNvPr>
          <p:cNvSpPr txBox="1"/>
          <p:nvPr/>
        </p:nvSpPr>
        <p:spPr>
          <a:xfrm>
            <a:off x="3780501" y="4427924"/>
            <a:ext cx="3484803" cy="1624804"/>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Die Maßnahmen zielen auf die Erreichung der Profitabilität durch Effizienzsteigerungs- und Kostensenkungsprogramme und schließlich auf die strategische (Neu-)Ausrichtung des </a:t>
            </a:r>
            <a:r>
              <a:rPr lang="en-GB" dirty="0" err="1">
                <a:solidFill>
                  <a:schemeClr val="bg1"/>
                </a:solidFill>
                <a:latin typeface="+mj-lt"/>
                <a:ea typeface="Lato Light" charset="0"/>
                <a:cs typeface="Lato Light" charset="0"/>
              </a:rPr>
              <a:t>Unternehmens</a:t>
            </a:r>
            <a:r>
              <a:rPr lang="en-GB" dirty="0">
                <a:solidFill>
                  <a:schemeClr val="bg1"/>
                </a:solidFill>
                <a:latin typeface="+mj-lt"/>
                <a:ea typeface="Lato Light" charset="0"/>
                <a:cs typeface="Lato Light" charset="0"/>
              </a:rPr>
              <a:t> ab.</a:t>
            </a:r>
          </a:p>
        </p:txBody>
      </p:sp>
      <p:sp>
        <p:nvSpPr>
          <p:cNvPr id="44" name="TextBox 30">
            <a:extLst>
              <a:ext uri="{FF2B5EF4-FFF2-40B4-BE49-F238E27FC236}">
                <a16:creationId xmlns:a16="http://schemas.microsoft.com/office/drawing/2014/main" xmlns="" id="{73D99BD9-9B17-4E44-8856-C99CB775BFB2}"/>
              </a:ext>
            </a:extLst>
          </p:cNvPr>
          <p:cNvSpPr txBox="1"/>
          <p:nvPr/>
        </p:nvSpPr>
        <p:spPr>
          <a:xfrm>
            <a:off x="3780500" y="4179438"/>
            <a:ext cx="3379957" cy="338554"/>
          </a:xfrm>
          <a:prstGeom prst="rect">
            <a:avLst/>
          </a:prstGeom>
          <a:noFill/>
        </p:spPr>
        <p:txBody>
          <a:bodyPr wrap="square" rtlCol="0">
            <a:spAutoFit/>
          </a:bodyPr>
          <a:lstStyle/>
          <a:p>
            <a:r>
              <a:rPr lang="en-GB" sz="1600" b="1" dirty="0" err="1">
                <a:solidFill>
                  <a:schemeClr val="bg1"/>
                </a:solidFill>
                <a:latin typeface="+mj-lt"/>
                <a:ea typeface="Roboto" charset="0"/>
                <a:cs typeface="Roboto" charset="0"/>
              </a:rPr>
              <a:t>Brandbekämpfung</a:t>
            </a:r>
            <a:r>
              <a:rPr lang="en-GB" sz="1600" b="1" dirty="0">
                <a:solidFill>
                  <a:schemeClr val="bg1"/>
                </a:solidFill>
                <a:latin typeface="+mj-lt"/>
                <a:ea typeface="Roboto" charset="0"/>
                <a:cs typeface="Roboto" charset="0"/>
              </a:rPr>
              <a:t> </a:t>
            </a:r>
            <a:r>
              <a:rPr lang="en-GB" sz="1600" b="1" dirty="0" err="1">
                <a:solidFill>
                  <a:schemeClr val="bg1"/>
                </a:solidFill>
                <a:latin typeface="+mj-lt"/>
                <a:ea typeface="Roboto" charset="0"/>
                <a:cs typeface="Roboto" charset="0"/>
              </a:rPr>
              <a:t>vor</a:t>
            </a:r>
            <a:r>
              <a:rPr lang="en-GB" sz="1600" b="1" dirty="0">
                <a:solidFill>
                  <a:schemeClr val="bg1"/>
                </a:solidFill>
                <a:latin typeface="+mj-lt"/>
                <a:ea typeface="Roboto" charset="0"/>
                <a:cs typeface="Roboto" charset="0"/>
              </a:rPr>
              <a:t> </a:t>
            </a:r>
            <a:r>
              <a:rPr lang="en-GB" sz="1600" b="1" dirty="0" err="1">
                <a:solidFill>
                  <a:schemeClr val="bg1"/>
                </a:solidFill>
                <a:latin typeface="+mj-lt"/>
                <a:ea typeface="Roboto" charset="0"/>
                <a:cs typeface="Roboto" charset="0"/>
              </a:rPr>
              <a:t>Nachhaltigkeit</a:t>
            </a:r>
            <a:endParaRPr lang="en-GB" sz="1600" b="1" dirty="0">
              <a:solidFill>
                <a:schemeClr val="bg1"/>
              </a:solidFill>
              <a:latin typeface="+mj-lt"/>
              <a:ea typeface="Roboto" charset="0"/>
              <a:cs typeface="Roboto" charset="0"/>
            </a:endParaRPr>
          </a:p>
        </p:txBody>
      </p:sp>
      <p:sp>
        <p:nvSpPr>
          <p:cNvPr id="45" name="TextBox 37">
            <a:extLst>
              <a:ext uri="{FF2B5EF4-FFF2-40B4-BE49-F238E27FC236}">
                <a16:creationId xmlns:a16="http://schemas.microsoft.com/office/drawing/2014/main" xmlns="" id="{DA2331B7-9CA6-40FB-BFC8-F50D69A63F78}"/>
              </a:ext>
            </a:extLst>
          </p:cNvPr>
          <p:cNvSpPr txBox="1"/>
          <p:nvPr/>
        </p:nvSpPr>
        <p:spPr>
          <a:xfrm>
            <a:off x="8448991" y="2378571"/>
            <a:ext cx="3572750" cy="1182375"/>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Entsprechend der Dringlichkeit der Situation </a:t>
            </a:r>
            <a:r>
              <a:rPr lang="en-GB" sz="1600" dirty="0" err="1">
                <a:solidFill>
                  <a:schemeClr val="bg1"/>
                </a:solidFill>
                <a:latin typeface="+mj-lt"/>
                <a:ea typeface="Lato Light" charset="0"/>
                <a:cs typeface="Lato Light" charset="0"/>
              </a:rPr>
              <a:t>zielen</a:t>
            </a:r>
            <a:r>
              <a:rPr lang="en-GB" sz="1600" dirty="0">
                <a:solidFill>
                  <a:schemeClr val="bg1"/>
                </a:solidFill>
                <a:latin typeface="+mj-lt"/>
                <a:ea typeface="Lato Light" charset="0"/>
                <a:cs typeface="Lato Light" charset="0"/>
              </a:rPr>
              <a:t> die </a:t>
            </a:r>
            <a:r>
              <a:rPr lang="en-GB" sz="1600" dirty="0" err="1">
                <a:solidFill>
                  <a:schemeClr val="bg1"/>
                </a:solidFill>
                <a:latin typeface="+mj-lt"/>
                <a:ea typeface="Lato Light" charset="0"/>
                <a:cs typeface="Lato Light" charset="0"/>
              </a:rPr>
              <a:t>Restrukturierungs-maßnahmen</a:t>
            </a:r>
            <a:r>
              <a:rPr lang="en-GB" sz="1600" dirty="0">
                <a:solidFill>
                  <a:schemeClr val="bg1"/>
                </a:solidFill>
                <a:latin typeface="+mj-lt"/>
                <a:ea typeface="Lato Light" charset="0"/>
                <a:cs typeface="Lato Light" charset="0"/>
              </a:rPr>
              <a:t> zunächst auf die Beseitigung </a:t>
            </a:r>
            <a:r>
              <a:rPr lang="en-GB" sz="1600" dirty="0" err="1">
                <a:solidFill>
                  <a:schemeClr val="bg1"/>
                </a:solidFill>
                <a:latin typeface="+mj-lt"/>
                <a:ea typeface="Lato Light" charset="0"/>
                <a:cs typeface="Lato Light" charset="0"/>
              </a:rPr>
              <a:t>möglicher</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Insolvenzgründe</a:t>
            </a:r>
            <a:r>
              <a:rPr lang="en-GB" sz="1600" dirty="0">
                <a:solidFill>
                  <a:schemeClr val="bg1"/>
                </a:solidFill>
                <a:latin typeface="+mj-lt"/>
                <a:ea typeface="Lato Light" charset="0"/>
                <a:cs typeface="Lato Light" charset="0"/>
              </a:rPr>
              <a:t>  und auf die Deckung der </a:t>
            </a:r>
            <a:r>
              <a:rPr lang="en-GB" sz="1600" dirty="0" err="1">
                <a:solidFill>
                  <a:schemeClr val="bg1"/>
                </a:solidFill>
                <a:latin typeface="+mj-lt"/>
                <a:ea typeface="Lato Light" charset="0"/>
                <a:cs typeface="Lato Light" charset="0"/>
              </a:rPr>
              <a:t>Schulden</a:t>
            </a:r>
            <a:r>
              <a:rPr lang="en-GB" sz="1600" dirty="0">
                <a:solidFill>
                  <a:schemeClr val="bg1"/>
                </a:solidFill>
                <a:latin typeface="+mj-lt"/>
                <a:ea typeface="Lato Light" charset="0"/>
                <a:cs typeface="Lato Light" charset="0"/>
              </a:rPr>
              <a:t> ab.</a:t>
            </a:r>
          </a:p>
        </p:txBody>
      </p:sp>
      <p:sp>
        <p:nvSpPr>
          <p:cNvPr id="46" name="TextBox 38">
            <a:extLst>
              <a:ext uri="{FF2B5EF4-FFF2-40B4-BE49-F238E27FC236}">
                <a16:creationId xmlns:a16="http://schemas.microsoft.com/office/drawing/2014/main" xmlns="" id="{B7661049-E557-43D7-A167-5AD18AD80BF2}"/>
              </a:ext>
            </a:extLst>
          </p:cNvPr>
          <p:cNvSpPr txBox="1"/>
          <p:nvPr/>
        </p:nvSpPr>
        <p:spPr>
          <a:xfrm>
            <a:off x="8470331" y="2087736"/>
            <a:ext cx="2703689"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Dringlichkeit bestimmt Maßnahmen</a:t>
            </a:r>
          </a:p>
        </p:txBody>
      </p:sp>
      <p:sp>
        <p:nvSpPr>
          <p:cNvPr id="47" name="TextBox 39">
            <a:extLst>
              <a:ext uri="{FF2B5EF4-FFF2-40B4-BE49-F238E27FC236}">
                <a16:creationId xmlns:a16="http://schemas.microsoft.com/office/drawing/2014/main" xmlns="" id="{E236226E-206C-4200-A2C4-3A2E2C217F5A}"/>
              </a:ext>
            </a:extLst>
          </p:cNvPr>
          <p:cNvSpPr txBox="1"/>
          <p:nvPr/>
        </p:nvSpPr>
        <p:spPr>
          <a:xfrm>
            <a:off x="3770232" y="2437946"/>
            <a:ext cx="3484803" cy="977575"/>
          </a:xfrm>
          <a:prstGeom prst="rect">
            <a:avLst/>
          </a:prstGeom>
          <a:noFill/>
        </p:spPr>
        <p:txBody>
          <a:bodyPr wrap="square" rtlCol="0">
            <a:spAutoFit/>
          </a:bodyPr>
          <a:lstStyle/>
          <a:p>
            <a:pPr>
              <a:lnSpc>
                <a:spcPts val="1665"/>
              </a:lnSpc>
            </a:pPr>
            <a:r>
              <a:rPr lang="en-GB" sz="2000" dirty="0">
                <a:solidFill>
                  <a:schemeClr val="bg1"/>
                </a:solidFill>
                <a:latin typeface="+mj-lt"/>
                <a:ea typeface="Lato Light" charset="0"/>
                <a:cs typeface="Lato Light" charset="0"/>
              </a:rPr>
              <a:t>Das jeweilige Stadium der Krise bestimmt die Inhalte und Maßnahmen des </a:t>
            </a:r>
            <a:r>
              <a:rPr lang="en-GB" sz="2000" dirty="0" err="1">
                <a:solidFill>
                  <a:schemeClr val="bg1"/>
                </a:solidFill>
                <a:latin typeface="+mj-lt"/>
                <a:ea typeface="Lato Light" charset="0"/>
                <a:cs typeface="Lato Light" charset="0"/>
              </a:rPr>
              <a:t>Restrukturierungskonzepts</a:t>
            </a:r>
            <a:endParaRPr lang="en-GB" sz="2000" dirty="0">
              <a:solidFill>
                <a:schemeClr val="bg1"/>
              </a:solidFill>
              <a:latin typeface="+mj-lt"/>
              <a:ea typeface="Lato Light" charset="0"/>
              <a:cs typeface="Lato Light" charset="0"/>
            </a:endParaRPr>
          </a:p>
        </p:txBody>
      </p:sp>
      <p:sp>
        <p:nvSpPr>
          <p:cNvPr id="48" name="TextBox 40">
            <a:extLst>
              <a:ext uri="{FF2B5EF4-FFF2-40B4-BE49-F238E27FC236}">
                <a16:creationId xmlns:a16="http://schemas.microsoft.com/office/drawing/2014/main" xmlns="" id="{805FE2B6-A322-4AEF-B55F-50D02789EFB7}"/>
              </a:ext>
            </a:extLst>
          </p:cNvPr>
          <p:cNvSpPr txBox="1"/>
          <p:nvPr/>
        </p:nvSpPr>
        <p:spPr>
          <a:xfrm>
            <a:off x="3791573" y="2123361"/>
            <a:ext cx="2990306" cy="338554"/>
          </a:xfrm>
          <a:prstGeom prst="rect">
            <a:avLst/>
          </a:prstGeom>
          <a:noFill/>
        </p:spPr>
        <p:txBody>
          <a:bodyPr wrap="none" rtlCol="0">
            <a:spAutoFit/>
          </a:bodyPr>
          <a:lstStyle/>
          <a:p>
            <a:r>
              <a:rPr lang="en-GB" sz="1600" b="1" dirty="0">
                <a:solidFill>
                  <a:schemeClr val="bg1"/>
                </a:solidFill>
                <a:latin typeface="+mj-lt"/>
                <a:ea typeface="Roboto" charset="0"/>
                <a:cs typeface="Roboto" charset="0"/>
              </a:rPr>
              <a:t>Krisenphase bestimmt Maßnahmen</a:t>
            </a:r>
          </a:p>
        </p:txBody>
      </p:sp>
    </p:spTree>
    <p:extLst>
      <p:ext uri="{BB962C8B-B14F-4D97-AF65-F5344CB8AC3E}">
        <p14:creationId xmlns:p14="http://schemas.microsoft.com/office/powerpoint/2010/main" val="2516474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10836" y="619207"/>
            <a:ext cx="8852375" cy="697353"/>
          </a:xfrm>
        </p:spPr>
        <p:txBody>
          <a:bodyPr>
            <a:normAutofit/>
          </a:bodyPr>
          <a:lstStyle/>
          <a:p>
            <a:r>
              <a:rPr lang="en-GB" dirty="0" err="1"/>
              <a:t>Bewältigung</a:t>
            </a:r>
            <a:r>
              <a:rPr lang="en-GB" dirty="0"/>
              <a:t> einer Liquiditätskrise</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59811" y="1788803"/>
            <a:ext cx="4088249"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err="1">
                <a:solidFill>
                  <a:srgbClr val="245473"/>
                </a:solidFill>
                <a:latin typeface="+mj-lt"/>
                <a:ea typeface="Open Sans Light" panose="020B0306030504020204" pitchFamily="34" charset="0"/>
                <a:cs typeface="Open Sans Light" panose="020B0306030504020204" pitchFamily="34" charset="0"/>
              </a:rPr>
              <a:t>Zur</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Überwindung</a:t>
            </a:r>
            <a:r>
              <a:rPr lang="en-GB" sz="2000" dirty="0">
                <a:solidFill>
                  <a:srgbClr val="245473"/>
                </a:solidFill>
                <a:latin typeface="+mj-lt"/>
                <a:ea typeface="Open Sans Light" panose="020B0306030504020204" pitchFamily="34" charset="0"/>
                <a:cs typeface="Open Sans Light" panose="020B0306030504020204" pitchFamily="34" charset="0"/>
              </a:rPr>
              <a:t> der Liquiditätskrise müssen die im Unternehmen noch vorhandenen Liquiditätsreserven mobilisiert und verbleibende Lücken extern geschlossen werden, entweder durch Zuführung von liquiden Mitteln oder durch Stillhalteabkommen mit Gläubigern.</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 Wiederherstellung einer ausreichenden Kreditwürdigkeit setzt auch voraus, dass das Unternehmen sein Rating verbessern und ausreichende Garantien bieten kann</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err="1">
                <a:solidFill>
                  <a:srgbClr val="245473"/>
                </a:solidFill>
                <a:latin typeface="+mj-lt"/>
                <a:ea typeface="Open Sans Light" panose="020B0306030504020204" pitchFamily="34" charset="0"/>
                <a:cs typeface="Open Sans Light" panose="020B0306030504020204" pitchFamily="34" charset="0"/>
              </a:rPr>
              <a:t>Weitere</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Möglichkeiten</a:t>
            </a:r>
            <a:r>
              <a:rPr lang="en-GB" sz="2000" dirty="0">
                <a:solidFill>
                  <a:srgbClr val="245473"/>
                </a:solidFill>
                <a:latin typeface="+mj-lt"/>
                <a:ea typeface="Open Sans Light" panose="020B0306030504020204" pitchFamily="34" charset="0"/>
                <a:cs typeface="Open Sans Light" panose="020B0306030504020204" pitchFamily="34" charset="0"/>
              </a:rPr>
              <a:t>: </a:t>
            </a:r>
          </a:p>
        </p:txBody>
      </p:sp>
      <p:grpSp>
        <p:nvGrpSpPr>
          <p:cNvPr id="20" name="Group 18204">
            <a:extLst>
              <a:ext uri="{FF2B5EF4-FFF2-40B4-BE49-F238E27FC236}">
                <a16:creationId xmlns:a16="http://schemas.microsoft.com/office/drawing/2014/main" xmlns="" id="{E83DAD49-A45B-4067-8612-3F8C2E8BBF26}"/>
              </a:ext>
            </a:extLst>
          </p:cNvPr>
          <p:cNvGrpSpPr/>
          <p:nvPr/>
        </p:nvGrpSpPr>
        <p:grpSpPr>
          <a:xfrm>
            <a:off x="4653352" y="3229654"/>
            <a:ext cx="1415796" cy="1577513"/>
            <a:chOff x="0" y="0"/>
            <a:chExt cx="1905957" cy="2123662"/>
          </a:xfrm>
        </p:grpSpPr>
        <p:sp>
          <p:nvSpPr>
            <p:cNvPr id="21" name="Shape 18202">
              <a:extLst>
                <a:ext uri="{FF2B5EF4-FFF2-40B4-BE49-F238E27FC236}">
                  <a16:creationId xmlns:a16="http://schemas.microsoft.com/office/drawing/2014/main" xmlns="" id="{DBB4B7F1-082D-4C2B-806E-79BFDF06BCC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2" name="Shape 18203">
              <a:extLst>
                <a:ext uri="{FF2B5EF4-FFF2-40B4-BE49-F238E27FC236}">
                  <a16:creationId xmlns:a16="http://schemas.microsoft.com/office/drawing/2014/main" xmlns="" id="{94B22DDC-324D-4C7A-A0D0-EA8DA63E2F84}"/>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3" name="Group 18207">
            <a:extLst>
              <a:ext uri="{FF2B5EF4-FFF2-40B4-BE49-F238E27FC236}">
                <a16:creationId xmlns:a16="http://schemas.microsoft.com/office/drawing/2014/main" xmlns="" id="{8746039E-5B2D-419D-9671-97D8D31C01B8}"/>
              </a:ext>
            </a:extLst>
          </p:cNvPr>
          <p:cNvGrpSpPr/>
          <p:nvPr/>
        </p:nvGrpSpPr>
        <p:grpSpPr>
          <a:xfrm>
            <a:off x="8579908" y="2431675"/>
            <a:ext cx="1733782" cy="2063284"/>
            <a:chOff x="0" y="0"/>
            <a:chExt cx="2334032" cy="2777611"/>
          </a:xfrm>
        </p:grpSpPr>
        <p:sp>
          <p:nvSpPr>
            <p:cNvPr id="24" name="Shape 18205">
              <a:extLst>
                <a:ext uri="{FF2B5EF4-FFF2-40B4-BE49-F238E27FC236}">
                  <a16:creationId xmlns:a16="http://schemas.microsoft.com/office/drawing/2014/main" xmlns="" id="{6E764A43-7907-47A2-B2C4-BEAE8C95A667}"/>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5" name="Shape 18206">
              <a:extLst>
                <a:ext uri="{FF2B5EF4-FFF2-40B4-BE49-F238E27FC236}">
                  <a16:creationId xmlns:a16="http://schemas.microsoft.com/office/drawing/2014/main" xmlns="" id="{AA2C67E6-85E2-4E94-9223-D932F0B21E4F}"/>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26" name="Group 18211">
            <a:extLst>
              <a:ext uri="{FF2B5EF4-FFF2-40B4-BE49-F238E27FC236}">
                <a16:creationId xmlns:a16="http://schemas.microsoft.com/office/drawing/2014/main" xmlns="" id="{844CD7F4-65D6-4426-8FF4-0387B244436E}"/>
              </a:ext>
            </a:extLst>
          </p:cNvPr>
          <p:cNvGrpSpPr/>
          <p:nvPr/>
        </p:nvGrpSpPr>
        <p:grpSpPr>
          <a:xfrm>
            <a:off x="5590658" y="4122628"/>
            <a:ext cx="1347128" cy="1161728"/>
            <a:chOff x="0" y="0"/>
            <a:chExt cx="1813514" cy="1563927"/>
          </a:xfrm>
        </p:grpSpPr>
        <p:sp>
          <p:nvSpPr>
            <p:cNvPr id="27" name="Shape 18208">
              <a:extLst>
                <a:ext uri="{FF2B5EF4-FFF2-40B4-BE49-F238E27FC236}">
                  <a16:creationId xmlns:a16="http://schemas.microsoft.com/office/drawing/2014/main" xmlns="" id="{B261EB75-668D-40DD-A8D3-97791B05FD36}"/>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28" name="Shape 18209">
              <a:extLst>
                <a:ext uri="{FF2B5EF4-FFF2-40B4-BE49-F238E27FC236}">
                  <a16:creationId xmlns:a16="http://schemas.microsoft.com/office/drawing/2014/main" xmlns="" id="{49604B40-AF93-4136-953E-2DC49D0CCC36}"/>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29" name="Shape 18210">
              <a:extLst>
                <a:ext uri="{FF2B5EF4-FFF2-40B4-BE49-F238E27FC236}">
                  <a16:creationId xmlns:a16="http://schemas.microsoft.com/office/drawing/2014/main" xmlns="" id="{0A7591FD-FC0D-4C04-9C74-8FBC9D272FA1}"/>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30" name="Group 18215">
            <a:extLst>
              <a:ext uri="{FF2B5EF4-FFF2-40B4-BE49-F238E27FC236}">
                <a16:creationId xmlns:a16="http://schemas.microsoft.com/office/drawing/2014/main" xmlns="" id="{1E28D54D-C0A3-45C1-8960-DCD5AED2F1C9}"/>
              </a:ext>
            </a:extLst>
          </p:cNvPr>
          <p:cNvGrpSpPr/>
          <p:nvPr/>
        </p:nvGrpSpPr>
        <p:grpSpPr>
          <a:xfrm>
            <a:off x="6996619" y="4407620"/>
            <a:ext cx="1172470" cy="898958"/>
            <a:chOff x="0" y="0"/>
            <a:chExt cx="1578389" cy="1210186"/>
          </a:xfrm>
        </p:grpSpPr>
        <p:sp>
          <p:nvSpPr>
            <p:cNvPr id="31" name="Shape 18212">
              <a:extLst>
                <a:ext uri="{FF2B5EF4-FFF2-40B4-BE49-F238E27FC236}">
                  <a16:creationId xmlns:a16="http://schemas.microsoft.com/office/drawing/2014/main" xmlns="" id="{3E906520-B17F-480A-87A5-2A4850DB207E}"/>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32" name="Shape 18213">
              <a:extLst>
                <a:ext uri="{FF2B5EF4-FFF2-40B4-BE49-F238E27FC236}">
                  <a16:creationId xmlns:a16="http://schemas.microsoft.com/office/drawing/2014/main" xmlns="" id="{547CA99F-FD5D-4122-BB63-54C35396B167}"/>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49" name="Shape 18214">
              <a:extLst>
                <a:ext uri="{FF2B5EF4-FFF2-40B4-BE49-F238E27FC236}">
                  <a16:creationId xmlns:a16="http://schemas.microsoft.com/office/drawing/2014/main" xmlns="" id="{914293A5-4921-41D0-9CF0-5CCC1A952056}"/>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50" name="Group 18219">
            <a:extLst>
              <a:ext uri="{FF2B5EF4-FFF2-40B4-BE49-F238E27FC236}">
                <a16:creationId xmlns:a16="http://schemas.microsoft.com/office/drawing/2014/main" xmlns="" id="{EC4A7FB9-A62C-48E8-B2BD-DA65D487DD93}"/>
              </a:ext>
            </a:extLst>
          </p:cNvPr>
          <p:cNvGrpSpPr/>
          <p:nvPr/>
        </p:nvGrpSpPr>
        <p:grpSpPr>
          <a:xfrm>
            <a:off x="7921261" y="4027632"/>
            <a:ext cx="1394113" cy="1126387"/>
            <a:chOff x="0" y="0"/>
            <a:chExt cx="1876767" cy="1516352"/>
          </a:xfrm>
        </p:grpSpPr>
        <p:sp>
          <p:nvSpPr>
            <p:cNvPr id="51" name="Shape 18216">
              <a:extLst>
                <a:ext uri="{FF2B5EF4-FFF2-40B4-BE49-F238E27FC236}">
                  <a16:creationId xmlns:a16="http://schemas.microsoft.com/office/drawing/2014/main" xmlns="" id="{B374F26B-D853-42D5-86DF-259A99D3E71E}"/>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2" name="Shape 18217">
              <a:extLst>
                <a:ext uri="{FF2B5EF4-FFF2-40B4-BE49-F238E27FC236}">
                  <a16:creationId xmlns:a16="http://schemas.microsoft.com/office/drawing/2014/main" xmlns="" id="{53FBD17D-7707-421A-9518-2324D64F3E68}"/>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53" name="Shape 18218">
              <a:extLst>
                <a:ext uri="{FF2B5EF4-FFF2-40B4-BE49-F238E27FC236}">
                  <a16:creationId xmlns:a16="http://schemas.microsoft.com/office/drawing/2014/main" xmlns="" id="{17E2FADA-F82E-4E49-AFF3-CF3E1086258A}"/>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54" name="Shape 18237">
            <a:extLst>
              <a:ext uri="{FF2B5EF4-FFF2-40B4-BE49-F238E27FC236}">
                <a16:creationId xmlns:a16="http://schemas.microsoft.com/office/drawing/2014/main" xmlns="" id="{4652B7A9-0490-463E-8C0F-1AD4DFA1F225}"/>
              </a:ext>
            </a:extLst>
          </p:cNvPr>
          <p:cNvSpPr/>
          <p:nvPr/>
        </p:nvSpPr>
        <p:spPr>
          <a:xfrm>
            <a:off x="8153922" y="3088874"/>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5" name="Shape 18238">
            <a:extLst>
              <a:ext uri="{FF2B5EF4-FFF2-40B4-BE49-F238E27FC236}">
                <a16:creationId xmlns:a16="http://schemas.microsoft.com/office/drawing/2014/main" xmlns="" id="{87AD1332-5CB8-4888-BD27-E65B2989EDC5}"/>
              </a:ext>
            </a:extLst>
          </p:cNvPr>
          <p:cNvSpPr/>
          <p:nvPr/>
        </p:nvSpPr>
        <p:spPr>
          <a:xfrm>
            <a:off x="6402716" y="3457648"/>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6" name="Shape 18239">
            <a:extLst>
              <a:ext uri="{FF2B5EF4-FFF2-40B4-BE49-F238E27FC236}">
                <a16:creationId xmlns:a16="http://schemas.microsoft.com/office/drawing/2014/main" xmlns="" id="{1CA4B6F0-2D06-4A42-BD0B-3EA3C11AF4B9}"/>
              </a:ext>
            </a:extLst>
          </p:cNvPr>
          <p:cNvSpPr/>
          <p:nvPr/>
        </p:nvSpPr>
        <p:spPr>
          <a:xfrm>
            <a:off x="7547368" y="5149718"/>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7" name="Shape 18240">
            <a:extLst>
              <a:ext uri="{FF2B5EF4-FFF2-40B4-BE49-F238E27FC236}">
                <a16:creationId xmlns:a16="http://schemas.microsoft.com/office/drawing/2014/main" xmlns="" id="{E65A5F9F-3277-408A-92D0-7F4A4D61F70A}"/>
              </a:ext>
            </a:extLst>
          </p:cNvPr>
          <p:cNvSpPr/>
          <p:nvPr/>
        </p:nvSpPr>
        <p:spPr>
          <a:xfrm rot="5400000">
            <a:off x="10216401" y="3042944"/>
            <a:ext cx="293621"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8" name="Shape 18241">
            <a:extLst>
              <a:ext uri="{FF2B5EF4-FFF2-40B4-BE49-F238E27FC236}">
                <a16:creationId xmlns:a16="http://schemas.microsoft.com/office/drawing/2014/main" xmlns="" id="{57A54123-BE32-4A54-89F5-F987190A11E2}"/>
              </a:ext>
            </a:extLst>
          </p:cNvPr>
          <p:cNvSpPr/>
          <p:nvPr/>
        </p:nvSpPr>
        <p:spPr>
          <a:xfrm>
            <a:off x="4835654" y="421751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59" name="TextBox 45">
            <a:extLst>
              <a:ext uri="{FF2B5EF4-FFF2-40B4-BE49-F238E27FC236}">
                <a16:creationId xmlns:a16="http://schemas.microsoft.com/office/drawing/2014/main" xmlns="" id="{F0F89850-D6A4-4443-8D2D-A1FED454B979}"/>
              </a:ext>
            </a:extLst>
          </p:cNvPr>
          <p:cNvSpPr txBox="1"/>
          <p:nvPr/>
        </p:nvSpPr>
        <p:spPr>
          <a:xfrm>
            <a:off x="4308690" y="5648977"/>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Optimierung der Bestandsführung / Bestandsreduzierung</a:t>
            </a:r>
            <a:endParaRPr lang="en-GB" sz="1600" dirty="0">
              <a:latin typeface="+mj-lt"/>
              <a:ea typeface="Lato Light" panose="020F0502020204030203" pitchFamily="34" charset="0"/>
              <a:cs typeface="Lato Light" panose="020F0502020204030203" pitchFamily="34" charset="0"/>
            </a:endParaRPr>
          </a:p>
        </p:txBody>
      </p:sp>
      <p:sp>
        <p:nvSpPr>
          <p:cNvPr id="60" name="TextBox 46">
            <a:extLst>
              <a:ext uri="{FF2B5EF4-FFF2-40B4-BE49-F238E27FC236}">
                <a16:creationId xmlns:a16="http://schemas.microsoft.com/office/drawing/2014/main" xmlns="" id="{29BD9425-C95D-4CAE-8242-817AFB3152CD}"/>
              </a:ext>
            </a:extLst>
          </p:cNvPr>
          <p:cNvSpPr txBox="1"/>
          <p:nvPr/>
        </p:nvSpPr>
        <p:spPr>
          <a:xfrm>
            <a:off x="4308689" y="5406376"/>
            <a:ext cx="950453"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Inventar</a:t>
            </a:r>
            <a:endParaRPr lang="en-GB" sz="1600" b="1" dirty="0">
              <a:solidFill>
                <a:schemeClr val="accent1"/>
              </a:solidFill>
              <a:latin typeface="+mj-lt"/>
              <a:ea typeface="Lato Light" panose="020F0502020204030203" pitchFamily="34" charset="0"/>
              <a:cs typeface="Poppins" pitchFamily="2" charset="77"/>
            </a:endParaRPr>
          </a:p>
        </p:txBody>
      </p:sp>
      <p:sp>
        <p:nvSpPr>
          <p:cNvPr id="61" name="TextBox 49">
            <a:extLst>
              <a:ext uri="{FF2B5EF4-FFF2-40B4-BE49-F238E27FC236}">
                <a16:creationId xmlns:a16="http://schemas.microsoft.com/office/drawing/2014/main" xmlns="" id="{9B0188C1-8DA1-4B32-8B35-A4F5EA16E5C1}"/>
              </a:ext>
            </a:extLst>
          </p:cNvPr>
          <p:cNvSpPr txBox="1"/>
          <p:nvPr/>
        </p:nvSpPr>
        <p:spPr>
          <a:xfrm>
            <a:off x="4308690" y="2327503"/>
            <a:ext cx="2365406" cy="771621"/>
          </a:xfrm>
          <a:prstGeom prst="rect">
            <a:avLst/>
          </a:prstGeom>
          <a:noFill/>
        </p:spPr>
        <p:txBody>
          <a:bodyPr wrap="square" rtlCol="0" anchor="t">
            <a:spAutoFit/>
          </a:bodyPr>
          <a:lstStyle/>
          <a:p>
            <a:pPr>
              <a:lnSpc>
                <a:spcPts val="1313"/>
              </a:lnSpc>
            </a:pPr>
            <a:r>
              <a:rPr lang="en-GB" sz="1600" dirty="0" err="1">
                <a:latin typeface="+mj-lt"/>
                <a:ea typeface="Lato Light" panose="020F0502020204030203" pitchFamily="34" charset="0"/>
                <a:cs typeface="Lato Light" panose="020F0502020204030203" pitchFamily="34" charset="0"/>
              </a:rPr>
              <a:t>Verkauf</a:t>
            </a:r>
            <a:r>
              <a:rPr lang="en-GB" sz="1600" dirty="0">
                <a:latin typeface="+mj-lt"/>
                <a:ea typeface="Lato Light" panose="020F0502020204030203" pitchFamily="34" charset="0"/>
                <a:cs typeface="Lato Light" panose="020F0502020204030203" pitchFamily="34" charset="0"/>
              </a:rPr>
              <a:t> von </a:t>
            </a:r>
            <a:r>
              <a:rPr lang="en-GB" sz="1600" dirty="0" err="1">
                <a:latin typeface="+mj-lt"/>
                <a:ea typeface="Lato Light" panose="020F0502020204030203" pitchFamily="34" charset="0"/>
                <a:cs typeface="Lato Light" panose="020F0502020204030203" pitchFamily="34" charset="0"/>
              </a:rPr>
              <a:t>Forderungen</a:t>
            </a:r>
            <a:r>
              <a:rPr lang="en-GB" sz="1600" dirty="0">
                <a:latin typeface="+mj-lt"/>
                <a:ea typeface="Lato Light" panose="020F0502020204030203" pitchFamily="34" charset="0"/>
                <a:cs typeface="Lato Light" panose="020F0502020204030203" pitchFamily="34" charset="0"/>
              </a:rPr>
              <a:t>, um die Zeit bis </a:t>
            </a:r>
            <a:r>
              <a:rPr lang="en-GB" sz="1600" dirty="0" err="1">
                <a:latin typeface="+mj-lt"/>
                <a:ea typeface="Lato Light" panose="020F0502020204030203" pitchFamily="34" charset="0"/>
                <a:cs typeface="Lato Light" panose="020F0502020204030203" pitchFamily="34" charset="0"/>
              </a:rPr>
              <a:t>zum</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Geldeingang</a:t>
            </a:r>
            <a:r>
              <a:rPr lang="en-GB" sz="1600" dirty="0">
                <a:latin typeface="+mj-lt"/>
                <a:ea typeface="Lato Light" panose="020F0502020204030203" pitchFamily="34" charset="0"/>
                <a:cs typeface="Lato Light" panose="020F0502020204030203" pitchFamily="34" charset="0"/>
              </a:rPr>
              <a:t> und die </a:t>
            </a:r>
            <a:r>
              <a:rPr lang="en-GB" sz="1600" dirty="0" err="1">
                <a:latin typeface="+mj-lt"/>
                <a:ea typeface="Lato Light" panose="020F0502020204030203" pitchFamily="34" charset="0"/>
                <a:cs typeface="Lato Light" panose="020F0502020204030203" pitchFamily="34" charset="0"/>
              </a:rPr>
              <a:t>Ausfallrisik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zu</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reduzieren</a:t>
            </a:r>
            <a:endParaRPr lang="en-GB" sz="1600" dirty="0">
              <a:latin typeface="+mj-lt"/>
              <a:ea typeface="Lato Light" panose="020F0502020204030203" pitchFamily="34" charset="0"/>
              <a:cs typeface="Lato Light" panose="020F0502020204030203" pitchFamily="34" charset="0"/>
            </a:endParaRPr>
          </a:p>
        </p:txBody>
      </p:sp>
      <p:sp>
        <p:nvSpPr>
          <p:cNvPr id="62" name="TextBox 50">
            <a:extLst>
              <a:ext uri="{FF2B5EF4-FFF2-40B4-BE49-F238E27FC236}">
                <a16:creationId xmlns:a16="http://schemas.microsoft.com/office/drawing/2014/main" xmlns="" id="{2B804EFD-C218-4A28-A965-6261658DE351}"/>
              </a:ext>
            </a:extLst>
          </p:cNvPr>
          <p:cNvSpPr txBox="1"/>
          <p:nvPr/>
        </p:nvSpPr>
        <p:spPr>
          <a:xfrm>
            <a:off x="4308689" y="2057249"/>
            <a:ext cx="933782" cy="338554"/>
          </a:xfrm>
          <a:prstGeom prst="rect">
            <a:avLst/>
          </a:prstGeom>
          <a:noFill/>
        </p:spPr>
        <p:txBody>
          <a:bodyPr wrap="none" rtlCol="0" anchor="t">
            <a:spAutoFit/>
          </a:bodyPr>
          <a:lstStyle/>
          <a:p>
            <a:r>
              <a:rPr lang="en-GB" sz="1600" b="1" dirty="0">
                <a:solidFill>
                  <a:schemeClr val="accent2"/>
                </a:solidFill>
                <a:latin typeface="+mj-lt"/>
                <a:ea typeface="Lato Light" panose="020F0502020204030203" pitchFamily="34" charset="0"/>
                <a:cs typeface="Poppins" pitchFamily="2" charset="77"/>
              </a:rPr>
              <a:t>Factoring</a:t>
            </a:r>
          </a:p>
        </p:txBody>
      </p:sp>
      <p:sp>
        <p:nvSpPr>
          <p:cNvPr id="63" name="TextBox 52">
            <a:extLst>
              <a:ext uri="{FF2B5EF4-FFF2-40B4-BE49-F238E27FC236}">
                <a16:creationId xmlns:a16="http://schemas.microsoft.com/office/drawing/2014/main" xmlns="" id="{BE3B84A4-231C-4608-8C9A-3884315ED1AF}"/>
              </a:ext>
            </a:extLst>
          </p:cNvPr>
          <p:cNvSpPr txBox="1"/>
          <p:nvPr/>
        </p:nvSpPr>
        <p:spPr>
          <a:xfrm>
            <a:off x="7100783" y="2589894"/>
            <a:ext cx="2365406" cy="604909"/>
          </a:xfrm>
          <a:prstGeom prst="rect">
            <a:avLst/>
          </a:prstGeom>
          <a:noFill/>
        </p:spPr>
        <p:txBody>
          <a:bodyPr wrap="square" rtlCol="0" anchor="t">
            <a:spAutoFit/>
          </a:bodyPr>
          <a:lstStyle/>
          <a:p>
            <a:pPr>
              <a:lnSpc>
                <a:spcPts val="1313"/>
              </a:lnSpc>
            </a:pPr>
            <a:r>
              <a:rPr lang="en-GB" sz="1600" dirty="0">
                <a:latin typeface="+mj-lt"/>
                <a:ea typeface="Lato Light" panose="020F0502020204030203" pitchFamily="34" charset="0"/>
                <a:cs typeface="Lato Light" panose="020F0502020204030203" pitchFamily="34" charset="0"/>
              </a:rPr>
              <a:t>Outsourcing von </a:t>
            </a:r>
            <a:r>
              <a:rPr lang="en-GB" sz="1600" dirty="0" err="1">
                <a:latin typeface="+mj-lt"/>
                <a:ea typeface="Lato Light" panose="020F0502020204030203" pitchFamily="34" charset="0"/>
                <a:cs typeface="Lato Light" panose="020F0502020204030203" pitchFamily="34" charset="0"/>
              </a:rPr>
              <a:t>Nicht-Kernfunktion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zu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Reduzierung</a:t>
            </a:r>
            <a:r>
              <a:rPr lang="en-GB" sz="1600" dirty="0">
                <a:latin typeface="+mj-lt"/>
                <a:ea typeface="Lato Light" panose="020F0502020204030203" pitchFamily="34" charset="0"/>
                <a:cs typeface="Lato Light" panose="020F0502020204030203" pitchFamily="34" charset="0"/>
              </a:rPr>
              <a:t> der </a:t>
            </a:r>
            <a:r>
              <a:rPr lang="en-GB" sz="1600" dirty="0" err="1">
                <a:latin typeface="+mj-lt"/>
                <a:ea typeface="Lato Light" panose="020F0502020204030203" pitchFamily="34" charset="0"/>
                <a:cs typeface="Lato Light" panose="020F0502020204030203" pitchFamily="34" charset="0"/>
              </a:rPr>
              <a:t>Fixkosten</a:t>
            </a:r>
            <a:r>
              <a:rPr lang="en-GB" sz="1600" dirty="0">
                <a:latin typeface="+mj-lt"/>
                <a:ea typeface="Lato Light" panose="020F0502020204030203" pitchFamily="34" charset="0"/>
                <a:cs typeface="Lato Light" panose="020F0502020204030203" pitchFamily="34" charset="0"/>
              </a:rPr>
              <a:t> </a:t>
            </a:r>
            <a:br>
              <a:rPr lang="en-GB" sz="1600" dirty="0">
                <a:latin typeface="+mj-lt"/>
                <a:ea typeface="Lato Light" panose="020F0502020204030203" pitchFamily="34" charset="0"/>
                <a:cs typeface="Lato Light" panose="020F0502020204030203" pitchFamily="34" charset="0"/>
              </a:rPr>
            </a:br>
            <a:r>
              <a:rPr lang="en-GB" sz="1600" dirty="0" err="1">
                <a:latin typeface="+mj-lt"/>
                <a:ea typeface="Lato Light" panose="020F0502020204030203" pitchFamily="34" charset="0"/>
                <a:cs typeface="Lato Light" panose="020F0502020204030203" pitchFamily="34" charset="0"/>
              </a:rPr>
              <a:t>Kosten</a:t>
            </a:r>
            <a:endParaRPr lang="en-GB" sz="1600" dirty="0">
              <a:latin typeface="+mj-lt"/>
              <a:ea typeface="Lato Light" panose="020F0502020204030203" pitchFamily="34" charset="0"/>
              <a:cs typeface="Lato Light" panose="020F0502020204030203" pitchFamily="34" charset="0"/>
            </a:endParaRPr>
          </a:p>
        </p:txBody>
      </p:sp>
      <p:sp>
        <p:nvSpPr>
          <p:cNvPr id="64" name="TextBox 53">
            <a:extLst>
              <a:ext uri="{FF2B5EF4-FFF2-40B4-BE49-F238E27FC236}">
                <a16:creationId xmlns:a16="http://schemas.microsoft.com/office/drawing/2014/main" xmlns="" id="{9BBA2E5C-60EB-47C5-B992-42EB04B20165}"/>
              </a:ext>
            </a:extLst>
          </p:cNvPr>
          <p:cNvSpPr txBox="1"/>
          <p:nvPr/>
        </p:nvSpPr>
        <p:spPr>
          <a:xfrm>
            <a:off x="7100783" y="2347293"/>
            <a:ext cx="1169103" cy="338554"/>
          </a:xfrm>
          <a:prstGeom prst="rect">
            <a:avLst/>
          </a:prstGeom>
          <a:noFill/>
        </p:spPr>
        <p:txBody>
          <a:bodyPr wrap="none" rtlCol="0" anchor="t">
            <a:spAutoFit/>
          </a:bodyPr>
          <a:lstStyle/>
          <a:p>
            <a:r>
              <a:rPr lang="en-GB" sz="1600" b="1">
                <a:solidFill>
                  <a:schemeClr val="accent4"/>
                </a:solidFill>
                <a:latin typeface="+mj-lt"/>
                <a:ea typeface="Lato Light" panose="020F0502020204030203" pitchFamily="34" charset="0"/>
                <a:cs typeface="Poppins" pitchFamily="2" charset="77"/>
              </a:rPr>
              <a:t>Outsourcing</a:t>
            </a:r>
            <a:endParaRPr lang="en-GB" sz="1600" b="1" dirty="0">
              <a:solidFill>
                <a:schemeClr val="accent4"/>
              </a:solidFill>
              <a:latin typeface="+mj-lt"/>
              <a:ea typeface="Lato Light" panose="020F0502020204030203" pitchFamily="34" charset="0"/>
              <a:cs typeface="Poppins" pitchFamily="2" charset="77"/>
            </a:endParaRPr>
          </a:p>
        </p:txBody>
      </p:sp>
      <p:sp>
        <p:nvSpPr>
          <p:cNvPr id="65" name="TextBox 55">
            <a:extLst>
              <a:ext uri="{FF2B5EF4-FFF2-40B4-BE49-F238E27FC236}">
                <a16:creationId xmlns:a16="http://schemas.microsoft.com/office/drawing/2014/main" xmlns="" id="{3EDBF91F-3268-418D-BBF1-D2A887D7ACF6}"/>
              </a:ext>
            </a:extLst>
          </p:cNvPr>
          <p:cNvSpPr txBox="1"/>
          <p:nvPr/>
        </p:nvSpPr>
        <p:spPr>
          <a:xfrm>
            <a:off x="8419691" y="5640204"/>
            <a:ext cx="2365406" cy="771621"/>
          </a:xfrm>
          <a:prstGeom prst="rect">
            <a:avLst/>
          </a:prstGeom>
          <a:noFill/>
        </p:spPr>
        <p:txBody>
          <a:bodyPr wrap="square" rtlCol="0" anchor="t">
            <a:spAutoFit/>
          </a:bodyPr>
          <a:lstStyle/>
          <a:p>
            <a:pPr>
              <a:lnSpc>
                <a:spcPts val="1313"/>
              </a:lnSpc>
            </a:pPr>
            <a:r>
              <a:rPr lang="en-GB" sz="1600" dirty="0" err="1">
                <a:latin typeface="+mj-lt"/>
                <a:ea typeface="Lato Light" panose="020F0502020204030203" pitchFamily="34" charset="0"/>
                <a:cs typeface="Lato Light" panose="020F0502020204030203" pitchFamily="34" charset="0"/>
              </a:rPr>
              <a:t>Verkürzung</a:t>
            </a:r>
            <a:r>
              <a:rPr lang="en-GB" sz="1600" dirty="0">
                <a:latin typeface="+mj-lt"/>
                <a:ea typeface="Lato Light" panose="020F0502020204030203" pitchFamily="34" charset="0"/>
                <a:cs typeface="Lato Light" panose="020F0502020204030203" pitchFamily="34" charset="0"/>
              </a:rPr>
              <a:t> der </a:t>
            </a:r>
            <a:r>
              <a:rPr lang="en-GB" sz="1600" dirty="0" err="1">
                <a:latin typeface="+mj-lt"/>
                <a:ea typeface="Lato Light" panose="020F0502020204030203" pitchFamily="34" charset="0"/>
                <a:cs typeface="Lato Light" panose="020F0502020204030203" pitchFamily="34" charset="0"/>
              </a:rPr>
              <a:t>Zahlungsfristen</a:t>
            </a:r>
            <a:r>
              <a:rPr lang="en-GB" sz="1600" dirty="0">
                <a:latin typeface="+mj-lt"/>
                <a:ea typeface="Lato Light" panose="020F0502020204030203" pitchFamily="34" charset="0"/>
                <a:cs typeface="Lato Light" panose="020F0502020204030203" pitchFamily="34" charset="0"/>
              </a:rPr>
              <a:t> / </a:t>
            </a:r>
            <a:r>
              <a:rPr lang="en-GB" sz="1600" dirty="0" err="1">
                <a:latin typeface="+mj-lt"/>
                <a:ea typeface="Lato Light" panose="020F0502020204030203" pitchFamily="34" charset="0"/>
                <a:cs typeface="Lato Light" panose="020F0502020204030203" pitchFamily="34" charset="0"/>
              </a:rPr>
              <a:t>konsequentes</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Forderungsmanagement</a:t>
            </a:r>
            <a:endParaRPr lang="en-GB" sz="1600" dirty="0">
              <a:latin typeface="+mj-lt"/>
              <a:ea typeface="Lato Light" panose="020F0502020204030203" pitchFamily="34" charset="0"/>
              <a:cs typeface="Lato Light" panose="020F0502020204030203" pitchFamily="34" charset="0"/>
            </a:endParaRPr>
          </a:p>
        </p:txBody>
      </p:sp>
      <p:sp>
        <p:nvSpPr>
          <p:cNvPr id="66" name="TextBox 56">
            <a:extLst>
              <a:ext uri="{FF2B5EF4-FFF2-40B4-BE49-F238E27FC236}">
                <a16:creationId xmlns:a16="http://schemas.microsoft.com/office/drawing/2014/main" xmlns="" id="{A302633B-504E-42CF-B57B-98CEE520017C}"/>
              </a:ext>
            </a:extLst>
          </p:cNvPr>
          <p:cNvSpPr txBox="1"/>
          <p:nvPr/>
        </p:nvSpPr>
        <p:spPr>
          <a:xfrm>
            <a:off x="8419691" y="5397603"/>
            <a:ext cx="2250040" cy="338554"/>
          </a:xfrm>
          <a:prstGeom prst="rect">
            <a:avLst/>
          </a:prstGeom>
          <a:noFill/>
        </p:spPr>
        <p:txBody>
          <a:bodyPr wrap="none" rtlCol="0" anchor="t">
            <a:spAutoFit/>
          </a:bodyPr>
          <a:lstStyle/>
          <a:p>
            <a:r>
              <a:rPr lang="en-GB" sz="1600" b="1" dirty="0" err="1">
                <a:solidFill>
                  <a:schemeClr val="accent3"/>
                </a:solidFill>
                <a:latin typeface="+mj-lt"/>
                <a:ea typeface="Lato Light" panose="020F0502020204030203" pitchFamily="34" charset="0"/>
                <a:cs typeface="Poppins" pitchFamily="2" charset="77"/>
              </a:rPr>
              <a:t>Debitorenmanagement</a:t>
            </a:r>
            <a:endParaRPr lang="en-GB" sz="1600" b="1" dirty="0">
              <a:solidFill>
                <a:schemeClr val="accent3"/>
              </a:solidFill>
              <a:latin typeface="+mj-lt"/>
              <a:ea typeface="Lato Light" panose="020F0502020204030203" pitchFamily="34" charset="0"/>
              <a:cs typeface="Poppins" pitchFamily="2" charset="77"/>
            </a:endParaRPr>
          </a:p>
        </p:txBody>
      </p:sp>
      <p:sp>
        <p:nvSpPr>
          <p:cNvPr id="67" name="TextBox 58">
            <a:extLst>
              <a:ext uri="{FF2B5EF4-FFF2-40B4-BE49-F238E27FC236}">
                <a16:creationId xmlns:a16="http://schemas.microsoft.com/office/drawing/2014/main" xmlns="" id="{52C378A8-80DF-4799-96C7-6ECF736DA5AF}"/>
              </a:ext>
            </a:extLst>
          </p:cNvPr>
          <p:cNvSpPr txBox="1"/>
          <p:nvPr/>
        </p:nvSpPr>
        <p:spPr>
          <a:xfrm>
            <a:off x="10888743" y="4067167"/>
            <a:ext cx="1440367" cy="771621"/>
          </a:xfrm>
          <a:prstGeom prst="rect">
            <a:avLst/>
          </a:prstGeom>
          <a:noFill/>
        </p:spPr>
        <p:txBody>
          <a:bodyPr wrap="square" rtlCol="0" anchor="t">
            <a:spAutoFit/>
          </a:bodyPr>
          <a:lstStyle/>
          <a:p>
            <a:pPr>
              <a:lnSpc>
                <a:spcPts val="1313"/>
              </a:lnSpc>
            </a:pPr>
            <a:r>
              <a:rPr lang="en-GB" sz="1600" dirty="0" err="1">
                <a:latin typeface="+mj-lt"/>
                <a:ea typeface="Lato Light" panose="020F0502020204030203" pitchFamily="34" charset="0"/>
                <a:cs typeface="Lato Light" panose="020F0502020204030203" pitchFamily="34" charset="0"/>
              </a:rPr>
              <a:t>Verkauf</a:t>
            </a:r>
            <a:r>
              <a:rPr lang="en-GB" sz="1600" dirty="0">
                <a:latin typeface="+mj-lt"/>
                <a:ea typeface="Lato Light" panose="020F0502020204030203" pitchFamily="34" charset="0"/>
                <a:cs typeface="Lato Light" panose="020F0502020204030203" pitchFamily="34" charset="0"/>
              </a:rPr>
              <a:t> von Anlage-</a:t>
            </a:r>
            <a:r>
              <a:rPr lang="en-GB" sz="1600" dirty="0" err="1">
                <a:latin typeface="+mj-lt"/>
                <a:ea typeface="Lato Light" panose="020F0502020204030203" pitchFamily="34" charset="0"/>
                <a:cs typeface="Lato Light" panose="020F0502020204030203" pitchFamily="34" charset="0"/>
              </a:rPr>
              <a:t>vermögen</a:t>
            </a:r>
            <a:r>
              <a:rPr lang="en-GB" sz="1600" dirty="0">
                <a:latin typeface="+mj-lt"/>
                <a:ea typeface="Lato Light" panose="020F0502020204030203" pitchFamily="34" charset="0"/>
                <a:cs typeface="Lato Light" panose="020F0502020204030203" pitchFamily="34" charset="0"/>
              </a:rPr>
              <a:t> &amp; </a:t>
            </a:r>
            <a:r>
              <a:rPr lang="en-GB" sz="1600" dirty="0" err="1">
                <a:latin typeface="+mj-lt"/>
                <a:ea typeface="Lato Light" panose="020F0502020204030203" pitchFamily="34" charset="0"/>
                <a:cs typeface="Lato Light" panose="020F0502020204030203" pitchFamily="34" charset="0"/>
              </a:rPr>
              <a:t>Rückmiete</a:t>
            </a:r>
            <a:endParaRPr lang="en-GB" sz="1600" dirty="0">
              <a:latin typeface="+mj-lt"/>
              <a:ea typeface="Lato Light" panose="020F0502020204030203" pitchFamily="34" charset="0"/>
              <a:cs typeface="Lato Light" panose="020F0502020204030203" pitchFamily="34" charset="0"/>
            </a:endParaRPr>
          </a:p>
        </p:txBody>
      </p:sp>
      <p:sp>
        <p:nvSpPr>
          <p:cNvPr id="68" name="TextBox 59">
            <a:extLst>
              <a:ext uri="{FF2B5EF4-FFF2-40B4-BE49-F238E27FC236}">
                <a16:creationId xmlns:a16="http://schemas.microsoft.com/office/drawing/2014/main" xmlns="" id="{6D8ACA0D-D7F5-482F-BAC8-E942FBB6ABDD}"/>
              </a:ext>
            </a:extLst>
          </p:cNvPr>
          <p:cNvSpPr txBox="1"/>
          <p:nvPr/>
        </p:nvSpPr>
        <p:spPr>
          <a:xfrm>
            <a:off x="10894399" y="3526185"/>
            <a:ext cx="1082348" cy="584775"/>
          </a:xfrm>
          <a:prstGeom prst="rect">
            <a:avLst/>
          </a:prstGeom>
          <a:noFill/>
        </p:spPr>
        <p:txBody>
          <a:bodyPr wrap="none" rtlCol="0" anchor="t">
            <a:spAutoFit/>
          </a:bodyPr>
          <a:lstStyle/>
          <a:p>
            <a:r>
              <a:rPr lang="en-GB" sz="1600" b="1" dirty="0">
                <a:solidFill>
                  <a:schemeClr val="accent5"/>
                </a:solidFill>
                <a:latin typeface="+mj-lt"/>
                <a:ea typeface="Lato Light" panose="020F0502020204030203" pitchFamily="34" charset="0"/>
                <a:cs typeface="Poppins" pitchFamily="2" charset="77"/>
              </a:rPr>
              <a:t>Sale and </a:t>
            </a:r>
          </a:p>
          <a:p>
            <a:r>
              <a:rPr lang="en-GB" sz="1600" b="1" dirty="0">
                <a:solidFill>
                  <a:schemeClr val="accent5"/>
                </a:solidFill>
                <a:latin typeface="+mj-lt"/>
                <a:ea typeface="Lato Light" panose="020F0502020204030203" pitchFamily="34" charset="0"/>
                <a:cs typeface="Poppins" pitchFamily="2" charset="77"/>
              </a:rPr>
              <a:t>Lease Back</a:t>
            </a:r>
          </a:p>
        </p:txBody>
      </p:sp>
    </p:spTree>
    <p:extLst>
      <p:ext uri="{BB962C8B-B14F-4D97-AF65-F5344CB8AC3E}">
        <p14:creationId xmlns:p14="http://schemas.microsoft.com/office/powerpoint/2010/main" val="7110738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18204">
            <a:extLst>
              <a:ext uri="{FF2B5EF4-FFF2-40B4-BE49-F238E27FC236}">
                <a16:creationId xmlns:a16="http://schemas.microsoft.com/office/drawing/2014/main" xmlns="" id="{41B8DF88-D728-4A54-B092-F9AB55088C33}"/>
              </a:ext>
            </a:extLst>
          </p:cNvPr>
          <p:cNvGrpSpPr/>
          <p:nvPr/>
        </p:nvGrpSpPr>
        <p:grpSpPr>
          <a:xfrm>
            <a:off x="4339480" y="3188741"/>
            <a:ext cx="1415796" cy="1577513"/>
            <a:chOff x="0" y="0"/>
            <a:chExt cx="1905957" cy="2123662"/>
          </a:xfrm>
        </p:grpSpPr>
        <p:sp>
          <p:nvSpPr>
            <p:cNvPr id="76" name="Shape 18202">
              <a:extLst>
                <a:ext uri="{FF2B5EF4-FFF2-40B4-BE49-F238E27FC236}">
                  <a16:creationId xmlns:a16="http://schemas.microsoft.com/office/drawing/2014/main" xmlns="" id="{F6CBE937-68D8-42DB-A83F-52649AC5B494}"/>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77" name="Shape 18203">
              <a:extLst>
                <a:ext uri="{FF2B5EF4-FFF2-40B4-BE49-F238E27FC236}">
                  <a16:creationId xmlns:a16="http://schemas.microsoft.com/office/drawing/2014/main" xmlns="" id="{CC9EF858-94FE-431C-B4B4-FF47D0250217}"/>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78" name="Group 18207">
            <a:extLst>
              <a:ext uri="{FF2B5EF4-FFF2-40B4-BE49-F238E27FC236}">
                <a16:creationId xmlns:a16="http://schemas.microsoft.com/office/drawing/2014/main" xmlns="" id="{031BC639-2269-4565-B8EE-2F546F4370AA}"/>
              </a:ext>
            </a:extLst>
          </p:cNvPr>
          <p:cNvGrpSpPr/>
          <p:nvPr/>
        </p:nvGrpSpPr>
        <p:grpSpPr>
          <a:xfrm>
            <a:off x="8266036" y="2390762"/>
            <a:ext cx="1733782" cy="2063284"/>
            <a:chOff x="0" y="0"/>
            <a:chExt cx="2334032" cy="2777611"/>
          </a:xfrm>
        </p:grpSpPr>
        <p:sp>
          <p:nvSpPr>
            <p:cNvPr id="79" name="Shape 18205">
              <a:extLst>
                <a:ext uri="{FF2B5EF4-FFF2-40B4-BE49-F238E27FC236}">
                  <a16:creationId xmlns:a16="http://schemas.microsoft.com/office/drawing/2014/main" xmlns="" id="{85CCC825-863C-4CC5-A3D4-2616A10C2C48}"/>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0" name="Shape 18206">
              <a:extLst>
                <a:ext uri="{FF2B5EF4-FFF2-40B4-BE49-F238E27FC236}">
                  <a16:creationId xmlns:a16="http://schemas.microsoft.com/office/drawing/2014/main" xmlns="" id="{36DDA0C6-2E09-443D-960F-93A39EF1DACC}"/>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1" name="Group 18211">
            <a:extLst>
              <a:ext uri="{FF2B5EF4-FFF2-40B4-BE49-F238E27FC236}">
                <a16:creationId xmlns:a16="http://schemas.microsoft.com/office/drawing/2014/main" xmlns="" id="{E9F173B0-286C-4A05-B98D-E01602913BAB}"/>
              </a:ext>
            </a:extLst>
          </p:cNvPr>
          <p:cNvGrpSpPr/>
          <p:nvPr/>
        </p:nvGrpSpPr>
        <p:grpSpPr>
          <a:xfrm>
            <a:off x="5276786" y="4081715"/>
            <a:ext cx="1347128" cy="1161728"/>
            <a:chOff x="0" y="0"/>
            <a:chExt cx="1813514" cy="1563927"/>
          </a:xfrm>
        </p:grpSpPr>
        <p:sp>
          <p:nvSpPr>
            <p:cNvPr id="82" name="Shape 18208">
              <a:extLst>
                <a:ext uri="{FF2B5EF4-FFF2-40B4-BE49-F238E27FC236}">
                  <a16:creationId xmlns:a16="http://schemas.microsoft.com/office/drawing/2014/main" xmlns="" id="{37C6052E-73B1-4A4A-BAD8-75BDA545B260}"/>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600" dirty="0">
                <a:latin typeface="+mj-lt"/>
                <a:ea typeface="Lato Light" panose="020F0502020204030203" pitchFamily="34" charset="0"/>
                <a:cs typeface="Lato Light" panose="020F0502020204030203" pitchFamily="34" charset="0"/>
              </a:endParaRPr>
            </a:p>
          </p:txBody>
        </p:sp>
        <p:sp>
          <p:nvSpPr>
            <p:cNvPr id="83" name="Shape 18209">
              <a:extLst>
                <a:ext uri="{FF2B5EF4-FFF2-40B4-BE49-F238E27FC236}">
                  <a16:creationId xmlns:a16="http://schemas.microsoft.com/office/drawing/2014/main" xmlns="" id="{9C7E4312-839A-42E6-BDAA-0ECC7FB80571}"/>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4" name="Shape 18210">
              <a:extLst>
                <a:ext uri="{FF2B5EF4-FFF2-40B4-BE49-F238E27FC236}">
                  <a16:creationId xmlns:a16="http://schemas.microsoft.com/office/drawing/2014/main" xmlns="" id="{304ED873-4D9F-4203-B20A-ADEA10DD639E}"/>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5" name="Group 18215">
            <a:extLst>
              <a:ext uri="{FF2B5EF4-FFF2-40B4-BE49-F238E27FC236}">
                <a16:creationId xmlns:a16="http://schemas.microsoft.com/office/drawing/2014/main" xmlns="" id="{3F89A189-3028-4831-B6FC-DB027289F20E}"/>
              </a:ext>
            </a:extLst>
          </p:cNvPr>
          <p:cNvGrpSpPr/>
          <p:nvPr/>
        </p:nvGrpSpPr>
        <p:grpSpPr>
          <a:xfrm>
            <a:off x="6682747" y="4366707"/>
            <a:ext cx="1172470" cy="898958"/>
            <a:chOff x="0" y="0"/>
            <a:chExt cx="1578389" cy="1210186"/>
          </a:xfrm>
        </p:grpSpPr>
        <p:sp>
          <p:nvSpPr>
            <p:cNvPr id="86" name="Shape 18212">
              <a:extLst>
                <a:ext uri="{FF2B5EF4-FFF2-40B4-BE49-F238E27FC236}">
                  <a16:creationId xmlns:a16="http://schemas.microsoft.com/office/drawing/2014/main" xmlns="" id="{2EB5E428-6346-481A-ACF0-1D17FDF6315A}"/>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7" name="Shape 18213">
              <a:extLst>
                <a:ext uri="{FF2B5EF4-FFF2-40B4-BE49-F238E27FC236}">
                  <a16:creationId xmlns:a16="http://schemas.microsoft.com/office/drawing/2014/main" xmlns="" id="{8D15C762-A334-4A50-AD5A-AE1064CC7E39}"/>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88" name="Shape 18214">
              <a:extLst>
                <a:ext uri="{FF2B5EF4-FFF2-40B4-BE49-F238E27FC236}">
                  <a16:creationId xmlns:a16="http://schemas.microsoft.com/office/drawing/2014/main" xmlns="" id="{FDD610B6-E3BF-44A5-91BA-1F436881427B}"/>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grpSp>
        <p:nvGrpSpPr>
          <p:cNvPr id="89" name="Group 18219">
            <a:extLst>
              <a:ext uri="{FF2B5EF4-FFF2-40B4-BE49-F238E27FC236}">
                <a16:creationId xmlns:a16="http://schemas.microsoft.com/office/drawing/2014/main" xmlns="" id="{59478F0C-1244-43AD-AF93-7206AD4743DC}"/>
              </a:ext>
            </a:extLst>
          </p:cNvPr>
          <p:cNvGrpSpPr/>
          <p:nvPr/>
        </p:nvGrpSpPr>
        <p:grpSpPr>
          <a:xfrm>
            <a:off x="7607389" y="3986719"/>
            <a:ext cx="1394113" cy="1126387"/>
            <a:chOff x="0" y="0"/>
            <a:chExt cx="1876767" cy="1516352"/>
          </a:xfrm>
        </p:grpSpPr>
        <p:sp>
          <p:nvSpPr>
            <p:cNvPr id="90" name="Shape 18216">
              <a:extLst>
                <a:ext uri="{FF2B5EF4-FFF2-40B4-BE49-F238E27FC236}">
                  <a16:creationId xmlns:a16="http://schemas.microsoft.com/office/drawing/2014/main" xmlns="" id="{30B618C6-6F20-4D18-BCE8-3BE31F8E2DAB}"/>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1" name="Shape 18217">
              <a:extLst>
                <a:ext uri="{FF2B5EF4-FFF2-40B4-BE49-F238E27FC236}">
                  <a16:creationId xmlns:a16="http://schemas.microsoft.com/office/drawing/2014/main" xmlns="" id="{46A4B4C4-153B-4375-AE5A-752FB99EE170}"/>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600" dirty="0">
                <a:latin typeface="+mj-lt"/>
              </a:endParaRPr>
            </a:p>
          </p:txBody>
        </p:sp>
        <p:sp>
          <p:nvSpPr>
            <p:cNvPr id="92" name="Shape 18218">
              <a:extLst>
                <a:ext uri="{FF2B5EF4-FFF2-40B4-BE49-F238E27FC236}">
                  <a16:creationId xmlns:a16="http://schemas.microsoft.com/office/drawing/2014/main" xmlns="" id="{4F632239-0782-4D0B-A90C-8580B0ED7233}"/>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600" dirty="0">
                <a:latin typeface="+mj-lt"/>
              </a:endParaRPr>
            </a:p>
          </p:txBody>
        </p:sp>
      </p:grpSp>
      <p:sp>
        <p:nvSpPr>
          <p:cNvPr id="93" name="Shape 18237">
            <a:extLst>
              <a:ext uri="{FF2B5EF4-FFF2-40B4-BE49-F238E27FC236}">
                <a16:creationId xmlns:a16="http://schemas.microsoft.com/office/drawing/2014/main" xmlns="" id="{3BADCD4D-6094-4BB5-9D43-2BBD6ABA129A}"/>
              </a:ext>
            </a:extLst>
          </p:cNvPr>
          <p:cNvSpPr/>
          <p:nvPr/>
        </p:nvSpPr>
        <p:spPr>
          <a:xfrm>
            <a:off x="7840050" y="3047961"/>
            <a:ext cx="269327" cy="12852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4" name="Shape 18238">
            <a:extLst>
              <a:ext uri="{FF2B5EF4-FFF2-40B4-BE49-F238E27FC236}">
                <a16:creationId xmlns:a16="http://schemas.microsoft.com/office/drawing/2014/main" xmlns="" id="{9887A5AF-B6B3-4DC7-961B-E89A48FC241C}"/>
              </a:ext>
            </a:extLst>
          </p:cNvPr>
          <p:cNvSpPr/>
          <p:nvPr/>
        </p:nvSpPr>
        <p:spPr>
          <a:xfrm>
            <a:off x="6088844" y="3416735"/>
            <a:ext cx="269327" cy="99798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5" name="Shape 18239">
            <a:extLst>
              <a:ext uri="{FF2B5EF4-FFF2-40B4-BE49-F238E27FC236}">
                <a16:creationId xmlns:a16="http://schemas.microsoft.com/office/drawing/2014/main" xmlns="" id="{77BFFF31-93DB-4FB8-9106-53B956ACB34E}"/>
              </a:ext>
            </a:extLst>
          </p:cNvPr>
          <p:cNvSpPr/>
          <p:nvPr/>
        </p:nvSpPr>
        <p:spPr>
          <a:xfrm>
            <a:off x="7233496" y="5005287"/>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6" name="Shape 18240">
            <a:extLst>
              <a:ext uri="{FF2B5EF4-FFF2-40B4-BE49-F238E27FC236}">
                <a16:creationId xmlns:a16="http://schemas.microsoft.com/office/drawing/2014/main" xmlns="" id="{C172D41A-C274-47D7-86AB-73C9E1F87100}"/>
              </a:ext>
            </a:extLst>
          </p:cNvPr>
          <p:cNvSpPr/>
          <p:nvPr/>
        </p:nvSpPr>
        <p:spPr>
          <a:xfrm rot="5400000" flipH="1">
            <a:off x="10043571" y="2003447"/>
            <a:ext cx="293200" cy="843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7" name="Shape 18241">
            <a:extLst>
              <a:ext uri="{FF2B5EF4-FFF2-40B4-BE49-F238E27FC236}">
                <a16:creationId xmlns:a16="http://schemas.microsoft.com/office/drawing/2014/main" xmlns="" id="{24E3E47A-8CE8-4477-8134-6AB33B0BE726}"/>
              </a:ext>
            </a:extLst>
          </p:cNvPr>
          <p:cNvSpPr/>
          <p:nvPr/>
        </p:nvSpPr>
        <p:spPr>
          <a:xfrm>
            <a:off x="4521782" y="4176605"/>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600" dirty="0">
              <a:latin typeface="+mj-lt"/>
            </a:endParaRPr>
          </a:p>
        </p:txBody>
      </p:sp>
      <p:sp>
        <p:nvSpPr>
          <p:cNvPr id="98" name="TextBox 45">
            <a:extLst>
              <a:ext uri="{FF2B5EF4-FFF2-40B4-BE49-F238E27FC236}">
                <a16:creationId xmlns:a16="http://schemas.microsoft.com/office/drawing/2014/main" xmlns="" id="{A472781F-A7FD-4CF7-B792-E246C713C1D4}"/>
              </a:ext>
            </a:extLst>
          </p:cNvPr>
          <p:cNvSpPr txBox="1"/>
          <p:nvPr/>
        </p:nvSpPr>
        <p:spPr>
          <a:xfrm>
            <a:off x="3994818" y="5608064"/>
            <a:ext cx="2365406" cy="604909"/>
          </a:xfrm>
          <a:prstGeom prst="rect">
            <a:avLst/>
          </a:prstGeom>
          <a:noFill/>
        </p:spPr>
        <p:txBody>
          <a:bodyPr wrap="square" rtlCol="0" anchor="t">
            <a:spAutoFit/>
          </a:bodyPr>
          <a:lstStyle/>
          <a:p>
            <a:pPr>
              <a:lnSpc>
                <a:spcPts val="1313"/>
              </a:lnSpc>
            </a:pPr>
            <a:r>
              <a:rPr lang="en-GB" sz="1600">
                <a:latin typeface="+mj-lt"/>
                <a:ea typeface="Lato Light" panose="020F0502020204030203" pitchFamily="34" charset="0"/>
                <a:cs typeface="Lato Light" panose="020F0502020204030203" pitchFamily="34" charset="0"/>
              </a:rPr>
              <a:t>Einzahlung in die Kapitalrücklage vs. Kapitalerhöhung</a:t>
            </a:r>
            <a:endParaRPr lang="en-GB" sz="1600" dirty="0">
              <a:latin typeface="+mj-lt"/>
              <a:ea typeface="Lato Light" panose="020F0502020204030203" pitchFamily="34" charset="0"/>
              <a:cs typeface="Lato Light" panose="020F0502020204030203" pitchFamily="34" charset="0"/>
            </a:endParaRPr>
          </a:p>
        </p:txBody>
      </p:sp>
      <p:sp>
        <p:nvSpPr>
          <p:cNvPr id="99" name="TextBox 46">
            <a:extLst>
              <a:ext uri="{FF2B5EF4-FFF2-40B4-BE49-F238E27FC236}">
                <a16:creationId xmlns:a16="http://schemas.microsoft.com/office/drawing/2014/main" xmlns="" id="{9EDCE622-3755-4616-A286-089B918C8092}"/>
              </a:ext>
            </a:extLst>
          </p:cNvPr>
          <p:cNvSpPr txBox="1"/>
          <p:nvPr/>
        </p:nvSpPr>
        <p:spPr>
          <a:xfrm>
            <a:off x="3994817" y="5365463"/>
            <a:ext cx="1419941" cy="338554"/>
          </a:xfrm>
          <a:prstGeom prst="rect">
            <a:avLst/>
          </a:prstGeom>
          <a:noFill/>
        </p:spPr>
        <p:txBody>
          <a:bodyPr wrap="none" rtlCol="0" anchor="t">
            <a:spAutoFit/>
          </a:bodyPr>
          <a:lstStyle/>
          <a:p>
            <a:r>
              <a:rPr lang="en-GB" sz="1600" b="1">
                <a:solidFill>
                  <a:schemeClr val="accent1"/>
                </a:solidFill>
                <a:latin typeface="+mj-lt"/>
                <a:ea typeface="Lato Light" panose="020F0502020204030203" pitchFamily="34" charset="0"/>
                <a:cs typeface="Poppins" pitchFamily="2" charset="77"/>
              </a:rPr>
              <a:t>Kapitalrücklage</a:t>
            </a:r>
            <a:endParaRPr lang="en-GB" sz="1600" b="1" dirty="0">
              <a:solidFill>
                <a:schemeClr val="accent1"/>
              </a:solidFill>
              <a:latin typeface="+mj-lt"/>
              <a:ea typeface="Lato Light" panose="020F0502020204030203" pitchFamily="34" charset="0"/>
              <a:cs typeface="Poppins" pitchFamily="2" charset="77"/>
            </a:endParaRPr>
          </a:p>
        </p:txBody>
      </p:sp>
      <p:sp>
        <p:nvSpPr>
          <p:cNvPr id="100" name="TextBox 49">
            <a:extLst>
              <a:ext uri="{FF2B5EF4-FFF2-40B4-BE49-F238E27FC236}">
                <a16:creationId xmlns:a16="http://schemas.microsoft.com/office/drawing/2014/main" xmlns="" id="{14F98727-D4E1-4EC2-B7D8-F45D7B618CC9}"/>
              </a:ext>
            </a:extLst>
          </p:cNvPr>
          <p:cNvSpPr txBox="1"/>
          <p:nvPr/>
        </p:nvSpPr>
        <p:spPr>
          <a:xfrm>
            <a:off x="3994818" y="2472592"/>
            <a:ext cx="2365406" cy="611706"/>
          </a:xfrm>
          <a:prstGeom prst="rect">
            <a:avLst/>
          </a:prstGeom>
          <a:noFill/>
        </p:spPr>
        <p:txBody>
          <a:bodyPr wrap="square" rtlCol="0" anchor="t">
            <a:spAutoFit/>
          </a:bodyPr>
          <a:lstStyle/>
          <a:p>
            <a:pPr>
              <a:lnSpc>
                <a:spcPts val="1313"/>
              </a:lnSpc>
            </a:pPr>
            <a:r>
              <a:rPr lang="en-GB" sz="1600" dirty="0" err="1">
                <a:latin typeface="+mj-lt"/>
                <a:ea typeface="Lato Light" panose="020F0502020204030203" pitchFamily="34" charset="0"/>
                <a:cs typeface="Lato Light" panose="020F0502020204030203" pitchFamily="34" charset="0"/>
              </a:rPr>
              <a:t>Zufluss</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durch</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xtern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Investoren</a:t>
            </a:r>
            <a:r>
              <a:rPr lang="en-GB" sz="1600" dirty="0">
                <a:latin typeface="+mj-lt"/>
                <a:ea typeface="Lato Light" panose="020F0502020204030203" pitchFamily="34" charset="0"/>
                <a:cs typeface="Lato Light" panose="020F0502020204030203" pitchFamily="34" charset="0"/>
              </a:rPr>
              <a:t> </a:t>
            </a:r>
            <a:r>
              <a:rPr lang="en-GB" sz="1600" dirty="0">
                <a:latin typeface="+mj-lt"/>
              </a:rPr>
              <a:t>- </a:t>
            </a:r>
            <a:r>
              <a:rPr lang="de-DE" sz="1600" dirty="0">
                <a:latin typeface="+mj-lt"/>
              </a:rPr>
              <a:t>privates Beteiligungskapital</a:t>
            </a:r>
            <a:endParaRPr lang="en-GB" sz="1600" dirty="0">
              <a:latin typeface="+mj-lt"/>
              <a:ea typeface="Lato Light" panose="020F0502020204030203" pitchFamily="34" charset="0"/>
              <a:cs typeface="Lato Light" panose="020F0502020204030203" pitchFamily="34" charset="0"/>
            </a:endParaRPr>
          </a:p>
        </p:txBody>
      </p:sp>
      <p:sp>
        <p:nvSpPr>
          <p:cNvPr id="101" name="TextBox 50">
            <a:extLst>
              <a:ext uri="{FF2B5EF4-FFF2-40B4-BE49-F238E27FC236}">
                <a16:creationId xmlns:a16="http://schemas.microsoft.com/office/drawing/2014/main" xmlns="" id="{307FB8D1-A563-4C0C-B801-4C6F4769E550}"/>
              </a:ext>
            </a:extLst>
          </p:cNvPr>
          <p:cNvSpPr txBox="1"/>
          <p:nvPr/>
        </p:nvSpPr>
        <p:spPr>
          <a:xfrm>
            <a:off x="3994817" y="2229991"/>
            <a:ext cx="909608" cy="338554"/>
          </a:xfrm>
          <a:prstGeom prst="rect">
            <a:avLst/>
          </a:prstGeom>
          <a:noFill/>
        </p:spPr>
        <p:txBody>
          <a:bodyPr wrap="none" rtlCol="0" anchor="t">
            <a:spAutoFit/>
          </a:bodyPr>
          <a:lstStyle/>
          <a:p>
            <a:r>
              <a:rPr lang="en-GB" sz="1600" b="1">
                <a:solidFill>
                  <a:schemeClr val="accent2"/>
                </a:solidFill>
                <a:latin typeface="+mj-lt"/>
                <a:ea typeface="Lato Light" panose="020F0502020204030203" pitchFamily="34" charset="0"/>
                <a:cs typeface="Poppins" pitchFamily="2" charset="77"/>
              </a:rPr>
              <a:t>Investoren</a:t>
            </a:r>
            <a:endParaRPr lang="en-GB" sz="1600" b="1" dirty="0">
              <a:solidFill>
                <a:schemeClr val="accent2"/>
              </a:solidFill>
              <a:latin typeface="+mj-lt"/>
              <a:ea typeface="Lato Light" panose="020F0502020204030203" pitchFamily="34" charset="0"/>
              <a:cs typeface="Poppins" pitchFamily="2" charset="77"/>
            </a:endParaRPr>
          </a:p>
        </p:txBody>
      </p:sp>
      <p:sp>
        <p:nvSpPr>
          <p:cNvPr id="102" name="TextBox 52">
            <a:extLst>
              <a:ext uri="{FF2B5EF4-FFF2-40B4-BE49-F238E27FC236}">
                <a16:creationId xmlns:a16="http://schemas.microsoft.com/office/drawing/2014/main" xmlns="" id="{0FD09A67-E0B9-4AFD-AA77-6376220F2C12}"/>
              </a:ext>
            </a:extLst>
          </p:cNvPr>
          <p:cNvSpPr txBox="1"/>
          <p:nvPr/>
        </p:nvSpPr>
        <p:spPr>
          <a:xfrm>
            <a:off x="6766455" y="2099053"/>
            <a:ext cx="2365406" cy="938334"/>
          </a:xfrm>
          <a:prstGeom prst="rect">
            <a:avLst/>
          </a:prstGeom>
          <a:noFill/>
        </p:spPr>
        <p:txBody>
          <a:bodyPr wrap="square" lIns="91440" tIns="45720" rIns="91440" bIns="45720" rtlCol="0" anchor="t">
            <a:spAutoFit/>
          </a:bodyPr>
          <a:lstStyle/>
          <a:p>
            <a:pPr>
              <a:lnSpc>
                <a:spcPts val="1313"/>
              </a:lnSpc>
            </a:pPr>
            <a:r>
              <a:rPr lang="en-GB" sz="1600" dirty="0">
                <a:latin typeface="+mj-lt"/>
                <a:ea typeface="Lato Light" panose="020F0502020204030203" pitchFamily="34" charset="0"/>
                <a:cs typeface="Lato Light" panose="020F0502020204030203" pitchFamily="34" charset="0"/>
              </a:rPr>
              <a:t>Mezzanine-</a:t>
            </a:r>
            <a:r>
              <a:rPr lang="en-GB" sz="1600" dirty="0" err="1">
                <a:latin typeface="+mj-lt"/>
                <a:ea typeface="Lato Light" panose="020F0502020204030203" pitchFamily="34" charset="0"/>
                <a:cs typeface="Lato Light" panose="020F0502020204030203" pitchFamily="34" charset="0"/>
              </a:rPr>
              <a:t>Finanzierung</a:t>
            </a:r>
            <a:r>
              <a:rPr lang="en-GB" sz="1600" dirty="0">
                <a:latin typeface="+mj-lt"/>
                <a:ea typeface="Lato Light" panose="020F0502020204030203" pitchFamily="34" charset="0"/>
                <a:cs typeface="Lato Light" panose="020F0502020204030203" pitchFamily="34" charset="0"/>
              </a:rPr>
              <a:t> (finanzielle Mittel mit </a:t>
            </a:r>
            <a:r>
              <a:rPr lang="en-GB" sz="1600" dirty="0" err="1">
                <a:latin typeface="+mj-lt"/>
                <a:ea typeface="Lato Light" panose="020F0502020204030203" pitchFamily="34" charset="0"/>
                <a:cs typeface="Lato Light" panose="020F0502020204030203" pitchFamily="34" charset="0"/>
              </a:rPr>
              <a:t>ein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Mischform</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aus</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igenkapital</a:t>
            </a:r>
            <a:r>
              <a:rPr lang="en-GB" sz="1600" dirty="0">
                <a:latin typeface="+mj-lt"/>
                <a:ea typeface="Lato Light" panose="020F0502020204030203" pitchFamily="34" charset="0"/>
                <a:cs typeface="Lato Light" panose="020F0502020204030203" pitchFamily="34" charset="0"/>
              </a:rPr>
              <a:t> und </a:t>
            </a:r>
            <a:r>
              <a:rPr lang="en-GB" sz="1600" dirty="0" err="1">
                <a:latin typeface="+mj-lt"/>
                <a:ea typeface="Lato Light" panose="020F0502020204030203" pitchFamily="34" charset="0"/>
                <a:cs typeface="Lato Light" panose="020F0502020204030203" pitchFamily="34" charset="0"/>
              </a:rPr>
              <a:t>Fremdkapital</a:t>
            </a:r>
            <a:r>
              <a:rPr lang="en-GB" sz="1600" dirty="0">
                <a:latin typeface="+mj-lt"/>
                <a:ea typeface="Lato Light" panose="020F0502020204030203" pitchFamily="34" charset="0"/>
                <a:cs typeface="Lato Light" panose="020F0502020204030203" pitchFamily="34" charset="0"/>
              </a:rPr>
              <a:t>)</a:t>
            </a:r>
          </a:p>
        </p:txBody>
      </p:sp>
      <p:sp>
        <p:nvSpPr>
          <p:cNvPr id="103" name="TextBox 53">
            <a:extLst>
              <a:ext uri="{FF2B5EF4-FFF2-40B4-BE49-F238E27FC236}">
                <a16:creationId xmlns:a16="http://schemas.microsoft.com/office/drawing/2014/main" xmlns="" id="{80F58013-4102-4EA5-810E-84CED3F9F405}"/>
              </a:ext>
            </a:extLst>
          </p:cNvPr>
          <p:cNvSpPr txBox="1"/>
          <p:nvPr/>
        </p:nvSpPr>
        <p:spPr>
          <a:xfrm>
            <a:off x="6766455" y="1820654"/>
            <a:ext cx="1766574" cy="338554"/>
          </a:xfrm>
          <a:prstGeom prst="rect">
            <a:avLst/>
          </a:prstGeom>
          <a:noFill/>
        </p:spPr>
        <p:txBody>
          <a:bodyPr wrap="none" rtlCol="0" anchor="t">
            <a:spAutoFit/>
          </a:bodyPr>
          <a:lstStyle/>
          <a:p>
            <a:r>
              <a:rPr lang="en-GB" sz="1600" b="1" dirty="0">
                <a:solidFill>
                  <a:schemeClr val="accent4"/>
                </a:solidFill>
                <a:latin typeface="+mj-lt"/>
                <a:ea typeface="Lato Light" panose="020F0502020204030203" pitchFamily="34" charset="0"/>
                <a:cs typeface="Poppins" pitchFamily="2" charset="77"/>
              </a:rPr>
              <a:t>Mezzanines-Kapital</a:t>
            </a:r>
          </a:p>
        </p:txBody>
      </p:sp>
      <p:sp>
        <p:nvSpPr>
          <p:cNvPr id="104" name="TextBox 55">
            <a:extLst>
              <a:ext uri="{FF2B5EF4-FFF2-40B4-BE49-F238E27FC236}">
                <a16:creationId xmlns:a16="http://schemas.microsoft.com/office/drawing/2014/main" xmlns="" id="{0A4CD48D-FC57-4CCC-BC0E-981552418266}"/>
              </a:ext>
            </a:extLst>
          </p:cNvPr>
          <p:cNvSpPr txBox="1"/>
          <p:nvPr/>
        </p:nvSpPr>
        <p:spPr>
          <a:xfrm>
            <a:off x="7085800" y="5495773"/>
            <a:ext cx="4968814" cy="1105046"/>
          </a:xfrm>
          <a:prstGeom prst="rect">
            <a:avLst/>
          </a:prstGeom>
          <a:noFill/>
        </p:spPr>
        <p:txBody>
          <a:bodyPr wrap="square" rtlCol="0" anchor="t">
            <a:spAutoFit/>
          </a:bodyPr>
          <a:lstStyle/>
          <a:p>
            <a:pPr>
              <a:lnSpc>
                <a:spcPts val="1313"/>
              </a:lnSpc>
            </a:pPr>
            <a:r>
              <a:rPr lang="en-GB" sz="1600" dirty="0" err="1">
                <a:latin typeface="+mj-lt"/>
                <a:ea typeface="Lato Light" panose="020F0502020204030203" pitchFamily="34" charset="0"/>
                <a:cs typeface="Lato Light" panose="020F0502020204030203" pitchFamily="34" charset="0"/>
              </a:rPr>
              <a:t>Nominalkapitalerhöhung</a:t>
            </a:r>
            <a:r>
              <a:rPr lang="en-GB" sz="1600" dirty="0">
                <a:latin typeface="+mj-lt"/>
                <a:ea typeface="Lato Light" panose="020F0502020204030203" pitchFamily="34" charset="0"/>
                <a:cs typeface="Lato Light" panose="020F0502020204030203" pitchFamily="34" charset="0"/>
              </a:rPr>
              <a:t> = </a:t>
            </a:r>
            <a:r>
              <a:rPr lang="en-GB" sz="1600" dirty="0" err="1">
                <a:latin typeface="+mj-lt"/>
                <a:ea typeface="Lato Light" panose="020F0502020204030203" pitchFamily="34" charset="0"/>
                <a:cs typeface="Lato Light" panose="020F0502020204030203" pitchFamily="34" charset="0"/>
              </a:rPr>
              <a:t>Umwandlung</a:t>
            </a:r>
            <a:r>
              <a:rPr lang="en-GB" sz="1600" dirty="0">
                <a:latin typeface="+mj-lt"/>
                <a:ea typeface="Lato Light" panose="020F0502020204030203" pitchFamily="34" charset="0"/>
                <a:cs typeface="Lato Light" panose="020F0502020204030203" pitchFamily="34" charset="0"/>
              </a:rPr>
              <a:t> von </a:t>
            </a:r>
            <a:r>
              <a:rPr lang="en-GB" sz="1600" dirty="0" err="1">
                <a:latin typeface="+mj-lt"/>
                <a:ea typeface="Lato Light" panose="020F0502020204030203" pitchFamily="34" charset="0"/>
                <a:cs typeface="Lato Light" panose="020F0502020204030203" pitchFamily="34" charset="0"/>
              </a:rPr>
              <a:t>frei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Rücklagen</a:t>
            </a:r>
            <a:r>
              <a:rPr lang="en-GB" sz="1600" dirty="0">
                <a:latin typeface="+mj-lt"/>
                <a:ea typeface="Lato Light" panose="020F0502020204030203" pitchFamily="34" charset="0"/>
                <a:cs typeface="Lato Light" panose="020F0502020204030203" pitchFamily="34" charset="0"/>
              </a:rPr>
              <a:t> in </a:t>
            </a:r>
            <a:r>
              <a:rPr lang="en-GB" sz="1600" dirty="0" err="1">
                <a:latin typeface="+mj-lt"/>
                <a:ea typeface="Lato Light" panose="020F0502020204030203" pitchFamily="34" charset="0"/>
                <a:cs typeface="Lato Light" panose="020F0502020204030203" pitchFamily="34" charset="0"/>
              </a:rPr>
              <a:t>haftendes</a:t>
            </a:r>
            <a:r>
              <a:rPr lang="en-GB" sz="1600" dirty="0">
                <a:latin typeface="+mj-lt"/>
                <a:ea typeface="Lato Light" panose="020F0502020204030203" pitchFamily="34" charset="0"/>
                <a:cs typeface="Lato Light" panose="020F0502020204030203" pitchFamily="34" charset="0"/>
              </a:rPr>
              <a:t> Kapital (</a:t>
            </a:r>
            <a:r>
              <a:rPr lang="en-GB" sz="1600" dirty="0" err="1">
                <a:latin typeface="+mj-lt"/>
                <a:ea typeface="Lato Light" panose="020F0502020204030203" pitchFamily="34" charset="0"/>
                <a:cs typeface="Lato Light" panose="020F0502020204030203" pitchFamily="34" charset="0"/>
              </a:rPr>
              <a:t>Grundkapital</a:t>
            </a:r>
            <a:r>
              <a:rPr lang="en-GB" sz="1600" dirty="0">
                <a:latin typeface="+mj-lt"/>
                <a:ea typeface="Lato Light" panose="020F0502020204030203" pitchFamily="34" charset="0"/>
                <a:cs typeface="Lato Light" panose="020F0502020204030203" pitchFamily="34" charset="0"/>
              </a:rPr>
              <a:t> und </a:t>
            </a:r>
            <a:r>
              <a:rPr lang="en-GB" sz="1600" dirty="0" err="1">
                <a:latin typeface="+mj-lt"/>
                <a:ea typeface="Lato Light" panose="020F0502020204030203" pitchFamily="34" charset="0"/>
                <a:cs typeface="Lato Light" panose="020F0502020204030203" pitchFamily="34" charset="0"/>
              </a:rPr>
              <a:t>Nominalkapital</a:t>
            </a:r>
            <a:r>
              <a:rPr lang="en-GB" sz="1600" dirty="0">
                <a:latin typeface="+mj-lt"/>
                <a:ea typeface="Lato Light" panose="020F0502020204030203" pitchFamily="34" charset="0"/>
                <a:cs typeface="Lato Light" panose="020F0502020204030203" pitchFamily="34" charset="0"/>
              </a:rPr>
              <a:t>)</a:t>
            </a:r>
          </a:p>
          <a:p>
            <a:pPr>
              <a:lnSpc>
                <a:spcPts val="1313"/>
              </a:lnSpc>
            </a:pPr>
            <a:r>
              <a:rPr lang="en-GB" sz="1600" dirty="0" err="1">
                <a:latin typeface="+mj-lt"/>
                <a:ea typeface="Lato Light" panose="020F0502020204030203" pitchFamily="34" charset="0"/>
                <a:cs typeface="Lato Light" panose="020F0502020204030203" pitchFamily="34" charset="0"/>
              </a:rPr>
              <a:t>Effektiv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Kapitalerhöhung</a:t>
            </a:r>
            <a:r>
              <a:rPr lang="en-GB" sz="1600" dirty="0">
                <a:latin typeface="+mj-lt"/>
                <a:ea typeface="Lato Light" panose="020F0502020204030203" pitchFamily="34" charset="0"/>
                <a:cs typeface="Lato Light" panose="020F0502020204030203" pitchFamily="34" charset="0"/>
              </a:rPr>
              <a:t> = </a:t>
            </a:r>
            <a:r>
              <a:rPr lang="en-GB" sz="1600" dirty="0" err="1">
                <a:latin typeface="+mj-lt"/>
                <a:ea typeface="Lato Light" panose="020F0502020204030203" pitchFamily="34" charset="0"/>
                <a:cs typeface="Lato Light" panose="020F0502020204030203" pitchFamily="34" charset="0"/>
              </a:rPr>
              <a:t>Kapitalerhöhung</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geg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inlagen</a:t>
            </a:r>
            <a:r>
              <a:rPr lang="en-GB" sz="1600" dirty="0">
                <a:latin typeface="+mj-lt"/>
                <a:ea typeface="Lato Light" panose="020F0502020204030203" pitchFamily="34" charset="0"/>
                <a:cs typeface="Lato Light" panose="020F0502020204030203" pitchFamily="34" charset="0"/>
              </a:rPr>
              <a:t> (Bar- </a:t>
            </a:r>
            <a:r>
              <a:rPr lang="en-GB" sz="1600" dirty="0" err="1">
                <a:latin typeface="+mj-lt"/>
                <a:ea typeface="Lato Light" panose="020F0502020204030203" pitchFamily="34" charset="0"/>
                <a:cs typeface="Lato Light" panose="020F0502020204030203" pitchFamily="34" charset="0"/>
              </a:rPr>
              <a:t>od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Sacheinlag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genehmigt</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od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bedingt</a:t>
            </a:r>
            <a:endParaRPr lang="en-GB" sz="1600" dirty="0">
              <a:latin typeface="+mj-lt"/>
              <a:ea typeface="Lato Light" panose="020F0502020204030203" pitchFamily="34" charset="0"/>
              <a:cs typeface="Lato Light" panose="020F0502020204030203" pitchFamily="34" charset="0"/>
            </a:endParaRPr>
          </a:p>
        </p:txBody>
      </p:sp>
      <p:sp>
        <p:nvSpPr>
          <p:cNvPr id="105" name="TextBox 56">
            <a:extLst>
              <a:ext uri="{FF2B5EF4-FFF2-40B4-BE49-F238E27FC236}">
                <a16:creationId xmlns:a16="http://schemas.microsoft.com/office/drawing/2014/main" xmlns="" id="{FDED9551-93A9-4F4F-B401-C475951FA8B1}"/>
              </a:ext>
            </a:extLst>
          </p:cNvPr>
          <p:cNvSpPr txBox="1"/>
          <p:nvPr/>
        </p:nvSpPr>
        <p:spPr>
          <a:xfrm>
            <a:off x="8105819" y="5253172"/>
            <a:ext cx="3152210" cy="338554"/>
          </a:xfrm>
          <a:prstGeom prst="rect">
            <a:avLst/>
          </a:prstGeom>
          <a:noFill/>
        </p:spPr>
        <p:txBody>
          <a:bodyPr wrap="none" rtlCol="0" anchor="t">
            <a:spAutoFit/>
          </a:bodyPr>
          <a:lstStyle/>
          <a:p>
            <a:r>
              <a:rPr lang="en-GB" sz="1600" b="1">
                <a:solidFill>
                  <a:schemeClr val="accent3"/>
                </a:solidFill>
                <a:latin typeface="+mj-lt"/>
                <a:ea typeface="Lato Light" panose="020F0502020204030203" pitchFamily="34" charset="0"/>
                <a:cs typeface="Poppins" pitchFamily="2" charset="77"/>
              </a:rPr>
              <a:t>Nominale vs. effektive Kapitalerhöhung</a:t>
            </a:r>
            <a:endParaRPr lang="en-GB" sz="1600" b="1" dirty="0">
              <a:solidFill>
                <a:schemeClr val="accent3"/>
              </a:solidFill>
              <a:latin typeface="+mj-lt"/>
              <a:ea typeface="Lato Light" panose="020F0502020204030203" pitchFamily="34" charset="0"/>
              <a:cs typeface="Poppins" pitchFamily="2" charset="77"/>
            </a:endParaRPr>
          </a:p>
        </p:txBody>
      </p:sp>
      <p:sp>
        <p:nvSpPr>
          <p:cNvPr id="106" name="TextBox 58">
            <a:extLst>
              <a:ext uri="{FF2B5EF4-FFF2-40B4-BE49-F238E27FC236}">
                <a16:creationId xmlns:a16="http://schemas.microsoft.com/office/drawing/2014/main" xmlns="" id="{E254644E-FB3C-44BC-BA30-603C22445203}"/>
              </a:ext>
            </a:extLst>
          </p:cNvPr>
          <p:cNvSpPr txBox="1"/>
          <p:nvPr/>
        </p:nvSpPr>
        <p:spPr>
          <a:xfrm>
            <a:off x="10172336" y="2571932"/>
            <a:ext cx="1882278" cy="1938608"/>
          </a:xfrm>
          <a:prstGeom prst="rect">
            <a:avLst/>
          </a:prstGeom>
          <a:noFill/>
        </p:spPr>
        <p:txBody>
          <a:bodyPr wrap="square" rtlCol="0" anchor="t">
            <a:spAutoFit/>
          </a:bodyPr>
          <a:lstStyle/>
          <a:p>
            <a:pPr marL="85725" indent="-85725">
              <a:lnSpc>
                <a:spcPts val="1313"/>
              </a:lnSpc>
              <a:buFont typeface="Arial" panose="020B0604020202020204" pitchFamily="34" charset="0"/>
              <a:buChar char="•"/>
            </a:pPr>
            <a:r>
              <a:rPr lang="en-GB" sz="1600" dirty="0" err="1">
                <a:latin typeface="+mj-lt"/>
                <a:ea typeface="Lato Light" panose="020F0502020204030203" pitchFamily="34" charset="0"/>
                <a:cs typeface="Lato Light" panose="020F0502020204030203" pitchFamily="34" charset="0"/>
              </a:rPr>
              <a:t>Aktionärsdarlehen</a:t>
            </a:r>
            <a:endParaRPr lang="en-GB" sz="1600" dirty="0">
              <a:latin typeface="+mj-lt"/>
              <a:ea typeface="Lato Light" panose="020F0502020204030203" pitchFamily="34" charset="0"/>
              <a:cs typeface="Lato Light" panose="020F0502020204030203" pitchFamily="34" charset="0"/>
            </a:endParaRPr>
          </a:p>
          <a:p>
            <a:pPr marL="85725" indent="-85725">
              <a:lnSpc>
                <a:spcPts val="1313"/>
              </a:lnSpc>
              <a:buFont typeface="Arial" panose="020B0604020202020204" pitchFamily="34" charset="0"/>
              <a:buChar char="•"/>
            </a:pPr>
            <a:r>
              <a:rPr lang="en-GB" sz="1600" dirty="0" err="1">
                <a:latin typeface="+mj-lt"/>
                <a:ea typeface="Lato Light" panose="020F0502020204030203" pitchFamily="34" charset="0"/>
                <a:cs typeface="Lato Light" panose="020F0502020204030203" pitchFamily="34" charset="0"/>
              </a:rPr>
              <a:t>Atypisch</a:t>
            </a:r>
            <a:r>
              <a:rPr lang="en-GB" sz="1600" dirty="0">
                <a:latin typeface="+mj-lt"/>
                <a:ea typeface="Lato Light" panose="020F0502020204030203" pitchFamily="34" charset="0"/>
                <a:cs typeface="Lato Light" panose="020F0502020204030203" pitchFamily="34" charset="0"/>
              </a:rPr>
              <a:t>/</a:t>
            </a:r>
            <a:r>
              <a:rPr lang="en-GB" sz="1600" dirty="0" err="1">
                <a:latin typeface="+mj-lt"/>
                <a:ea typeface="Lato Light" panose="020F0502020204030203" pitchFamily="34" charset="0"/>
                <a:cs typeface="Lato Light" panose="020F0502020204030203" pitchFamily="34" charset="0"/>
              </a:rPr>
              <a:t>typisch</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still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Beteiligung</a:t>
            </a:r>
            <a:endParaRPr lang="en-GB" sz="1600" dirty="0">
              <a:latin typeface="+mj-lt"/>
              <a:ea typeface="Lato Light" panose="020F0502020204030203" pitchFamily="34" charset="0"/>
              <a:cs typeface="Lato Light" panose="020F0502020204030203" pitchFamily="34" charset="0"/>
            </a:endParaRPr>
          </a:p>
          <a:p>
            <a:pPr marL="85725" indent="-85725">
              <a:lnSpc>
                <a:spcPts val="1313"/>
              </a:lnSpc>
              <a:buFont typeface="Arial" panose="020B0604020202020204" pitchFamily="34" charset="0"/>
              <a:buChar char="•"/>
            </a:pPr>
            <a:r>
              <a:rPr lang="en-GB" sz="1600" dirty="0" err="1">
                <a:latin typeface="+mj-lt"/>
                <a:ea typeface="Lato Light" panose="020F0502020204030203" pitchFamily="34" charset="0"/>
                <a:cs typeface="Lato Light" panose="020F0502020204030203" pitchFamily="34" charset="0"/>
              </a:rPr>
              <a:t>Genussschein</a:t>
            </a:r>
            <a:endParaRPr lang="en-GB" sz="1600" dirty="0">
              <a:latin typeface="+mj-lt"/>
              <a:ea typeface="Lato Light" panose="020F0502020204030203" pitchFamily="34" charset="0"/>
              <a:cs typeface="Lato Light" panose="020F0502020204030203" pitchFamily="34" charset="0"/>
            </a:endParaRPr>
          </a:p>
          <a:p>
            <a:pPr marL="85725" indent="-85725">
              <a:lnSpc>
                <a:spcPts val="1313"/>
              </a:lnSpc>
              <a:buFont typeface="Arial" panose="020B0604020202020204" pitchFamily="34" charset="0"/>
              <a:buChar char="•"/>
            </a:pPr>
            <a:r>
              <a:rPr lang="en-GB" sz="1600" dirty="0">
                <a:latin typeface="+mj-lt"/>
                <a:ea typeface="Lato Light" panose="020F0502020204030203" pitchFamily="34" charset="0"/>
                <a:cs typeface="Lato Light" panose="020F0502020204030203" pitchFamily="34" charset="0"/>
              </a:rPr>
              <a:t>Options- und </a:t>
            </a:r>
            <a:r>
              <a:rPr lang="en-GB" sz="1600" dirty="0" err="1">
                <a:latin typeface="+mj-lt"/>
                <a:ea typeface="Lato Light" panose="020F0502020204030203" pitchFamily="34" charset="0"/>
                <a:cs typeface="Lato Light" panose="020F0502020204030203" pitchFamily="34" charset="0"/>
              </a:rPr>
              <a:t>Wandelanleihen</a:t>
            </a:r>
            <a:endParaRPr lang="en-GB" sz="1600" dirty="0">
              <a:latin typeface="+mj-lt"/>
              <a:ea typeface="Lato Light" panose="020F0502020204030203" pitchFamily="34" charset="0"/>
              <a:cs typeface="Lato Light" panose="020F0502020204030203" pitchFamily="34" charset="0"/>
            </a:endParaRPr>
          </a:p>
          <a:p>
            <a:pPr marL="85725" indent="-85725">
              <a:lnSpc>
                <a:spcPts val="1313"/>
              </a:lnSpc>
              <a:buFont typeface="Arial" panose="020B0604020202020204" pitchFamily="34" charset="0"/>
              <a:buChar char="•"/>
            </a:pPr>
            <a:r>
              <a:rPr lang="en-GB" sz="1600" dirty="0" err="1">
                <a:latin typeface="+mj-lt"/>
                <a:ea typeface="Lato Light" panose="020F0502020204030203" pitchFamily="34" charset="0"/>
                <a:cs typeface="Lato Light" panose="020F0502020204030203" pitchFamily="34" charset="0"/>
              </a:rPr>
              <a:t>Nachrangiges</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Darlehen</a:t>
            </a:r>
            <a:r>
              <a:rPr lang="en-GB" sz="1600" dirty="0">
                <a:latin typeface="+mj-lt"/>
                <a:ea typeface="Lato Light" panose="020F0502020204030203" pitchFamily="34" charset="0"/>
                <a:cs typeface="Lato Light" panose="020F0502020204030203" pitchFamily="34" charset="0"/>
              </a:rPr>
              <a:t> (Junior Debt </a:t>
            </a:r>
            <a:r>
              <a:rPr lang="en-GB" sz="1600" dirty="0" err="1">
                <a:latin typeface="+mj-lt"/>
                <a:ea typeface="Lato Light" panose="020F0502020204030203" pitchFamily="34" charset="0"/>
                <a:cs typeface="Lato Light" panose="020F0502020204030203" pitchFamily="34" charset="0"/>
              </a:rPr>
              <a:t>oder</a:t>
            </a:r>
            <a:r>
              <a:rPr lang="en-GB" sz="1600" dirty="0">
                <a:latin typeface="+mj-lt"/>
                <a:ea typeface="Lato Light" panose="020F0502020204030203" pitchFamily="34" charset="0"/>
                <a:cs typeface="Lato Light" panose="020F0502020204030203" pitchFamily="34" charset="0"/>
              </a:rPr>
              <a:t> Subordinated Debt)</a:t>
            </a:r>
          </a:p>
          <a:p>
            <a:pPr>
              <a:lnSpc>
                <a:spcPts val="1313"/>
              </a:lnSpc>
            </a:pPr>
            <a:endParaRPr lang="en-GB" sz="1600" dirty="0">
              <a:latin typeface="+mj-lt"/>
              <a:ea typeface="Lato Light" panose="020F0502020204030203" pitchFamily="34" charset="0"/>
              <a:cs typeface="Lato Light" panose="020F0502020204030203" pitchFamily="34" charset="0"/>
            </a:endParaRPr>
          </a:p>
        </p:txBody>
      </p:sp>
      <p:sp>
        <p:nvSpPr>
          <p:cNvPr id="107" name="TextBox 59">
            <a:extLst>
              <a:ext uri="{FF2B5EF4-FFF2-40B4-BE49-F238E27FC236}">
                <a16:creationId xmlns:a16="http://schemas.microsoft.com/office/drawing/2014/main" xmlns="" id="{1CFF7B76-9FA0-494D-8CD2-524EA55726B3}"/>
              </a:ext>
            </a:extLst>
          </p:cNvPr>
          <p:cNvSpPr txBox="1"/>
          <p:nvPr/>
        </p:nvSpPr>
        <p:spPr>
          <a:xfrm>
            <a:off x="10580527" y="2087792"/>
            <a:ext cx="728854" cy="338554"/>
          </a:xfrm>
          <a:prstGeom prst="rect">
            <a:avLst/>
          </a:prstGeom>
          <a:noFill/>
        </p:spPr>
        <p:txBody>
          <a:bodyPr wrap="none" rtlCol="0" anchor="t">
            <a:spAutoFit/>
          </a:bodyPr>
          <a:lstStyle/>
          <a:p>
            <a:r>
              <a:rPr lang="en-GB" sz="1600" b="1">
                <a:solidFill>
                  <a:schemeClr val="accent5"/>
                </a:solidFill>
                <a:latin typeface="+mj-lt"/>
                <a:ea typeface="Lato Light" panose="020F0502020204030203" pitchFamily="34" charset="0"/>
                <a:cs typeface="Poppins" pitchFamily="2" charset="77"/>
              </a:rPr>
              <a:t>Andere</a:t>
            </a:r>
            <a:endParaRPr lang="en-GB" sz="1600" b="1" dirty="0">
              <a:solidFill>
                <a:schemeClr val="accent5"/>
              </a:solidFill>
              <a:latin typeface="+mj-lt"/>
              <a:ea typeface="Lato Light" panose="020F0502020204030203" pitchFamily="34" charset="0"/>
              <a:cs typeface="Poppins" pitchFamily="2" charset="77"/>
            </a:endParaRPr>
          </a:p>
        </p:txBody>
      </p:sp>
      <p:sp>
        <p:nvSpPr>
          <p:cNvPr id="39" name="Textplatzhalter 1">
            <a:extLst>
              <a:ext uri="{FF2B5EF4-FFF2-40B4-BE49-F238E27FC236}">
                <a16:creationId xmlns:a16="http://schemas.microsoft.com/office/drawing/2014/main" xmlns="" id="{6302A659-E460-45D4-AB22-EE5E01F4B5B0}"/>
              </a:ext>
            </a:extLst>
          </p:cNvPr>
          <p:cNvSpPr>
            <a:spLocks noGrp="1"/>
          </p:cNvSpPr>
          <p:nvPr>
            <p:ph type="body" sz="quarter" idx="13"/>
          </p:nvPr>
        </p:nvSpPr>
        <p:spPr>
          <a:xfrm>
            <a:off x="1310836" y="619207"/>
            <a:ext cx="8852375" cy="697353"/>
          </a:xfrm>
        </p:spPr>
        <p:txBody>
          <a:bodyPr>
            <a:normAutofit/>
          </a:bodyPr>
          <a:lstStyle/>
          <a:p>
            <a:r>
              <a:rPr lang="en-GB" dirty="0" err="1"/>
              <a:t>Bewältigung</a:t>
            </a:r>
            <a:r>
              <a:rPr lang="en-GB" dirty="0"/>
              <a:t> </a:t>
            </a:r>
            <a:r>
              <a:rPr lang="en-GB" dirty="0" err="1"/>
              <a:t>einer</a:t>
            </a:r>
            <a:r>
              <a:rPr lang="en-GB" dirty="0"/>
              <a:t> </a:t>
            </a:r>
            <a:r>
              <a:rPr lang="en-GB" dirty="0" err="1"/>
              <a:t>Liquiditätskrise</a:t>
            </a:r>
            <a:r>
              <a:rPr lang="en-GB" dirty="0"/>
              <a:t> (Forts.)</a:t>
            </a:r>
          </a:p>
        </p:txBody>
      </p:sp>
      <p:sp>
        <p:nvSpPr>
          <p:cNvPr id="37" name="Subtitle 2">
            <a:extLst>
              <a:ext uri="{FF2B5EF4-FFF2-40B4-BE49-F238E27FC236}">
                <a16:creationId xmlns:a16="http://schemas.microsoft.com/office/drawing/2014/main" xmlns="" id="{14540FC4-B978-4549-AF5D-966FF78B4E9F}"/>
              </a:ext>
            </a:extLst>
          </p:cNvPr>
          <p:cNvSpPr txBox="1">
            <a:spLocks/>
          </p:cNvSpPr>
          <p:nvPr/>
        </p:nvSpPr>
        <p:spPr>
          <a:xfrm>
            <a:off x="159811" y="1788803"/>
            <a:ext cx="4088249"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err="1">
                <a:solidFill>
                  <a:srgbClr val="245473"/>
                </a:solidFill>
                <a:latin typeface="+mj-lt"/>
                <a:ea typeface="Open Sans Light" panose="020B0306030504020204" pitchFamily="34" charset="0"/>
                <a:cs typeface="Open Sans Light" panose="020B0306030504020204" pitchFamily="34" charset="0"/>
              </a:rPr>
              <a:t>Zur</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Überwindung</a:t>
            </a:r>
            <a:r>
              <a:rPr lang="en-GB" sz="2000" dirty="0">
                <a:solidFill>
                  <a:srgbClr val="245473"/>
                </a:solidFill>
                <a:latin typeface="+mj-lt"/>
                <a:ea typeface="Open Sans Light" panose="020B0306030504020204" pitchFamily="34" charset="0"/>
                <a:cs typeface="Open Sans Light" panose="020B0306030504020204" pitchFamily="34" charset="0"/>
              </a:rPr>
              <a:t> der Liquiditätskrise müssen die im Unternehmen noch vorhandenen Liquiditätsreserven mobilisiert und verbleibende Lücken extern geschlossen werden, entweder durch Zuführung von liquiden Mitteln oder durch Stillhalteabkommen mit Gläubigern.</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 Wiederherstellung einer ausreichenden Kreditwürdigkeit setzt auch voraus, dass das Unternehmen sein Rating verbessern und ausreichende Garantien bieten kann</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err="1">
                <a:solidFill>
                  <a:srgbClr val="245473"/>
                </a:solidFill>
                <a:latin typeface="+mj-lt"/>
                <a:ea typeface="Open Sans Light" panose="020B0306030504020204" pitchFamily="34" charset="0"/>
                <a:cs typeface="Open Sans Light" panose="020B0306030504020204" pitchFamily="34" charset="0"/>
              </a:rPr>
              <a:t>Weitere</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Möglichkeiten</a:t>
            </a:r>
            <a:r>
              <a:rPr lang="en-GB" sz="2000" dirty="0">
                <a:solidFill>
                  <a:srgbClr val="245473"/>
                </a:solidFill>
                <a:latin typeface="+mj-lt"/>
                <a:ea typeface="Open Sans Light" panose="020B0306030504020204" pitchFamily="34" charset="0"/>
                <a:cs typeface="Open Sans Light" panose="020B0306030504020204" pitchFamily="34" charset="0"/>
              </a:rPr>
              <a:t>: </a:t>
            </a:r>
          </a:p>
        </p:txBody>
      </p:sp>
    </p:spTree>
    <p:extLst>
      <p:ext uri="{BB962C8B-B14F-4D97-AF65-F5344CB8AC3E}">
        <p14:creationId xmlns:p14="http://schemas.microsoft.com/office/powerpoint/2010/main" val="7330673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6475" y="1881976"/>
            <a:ext cx="3222346"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fortgeschrittenen Krisenphasen ist es extrem schwierig, Fremdkapital zu akquirieren. </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Banken können aufgrund von Risikovorschriften oft nicht mehr aktiv werden.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Grundsätzlich fordern die Geldgeber in einer Krise plausible </a:t>
            </a:r>
            <a:r>
              <a:rPr lang="en-GB" sz="2200" dirty="0" err="1">
                <a:solidFill>
                  <a:srgbClr val="245473"/>
                </a:solidFill>
                <a:latin typeface="+mj-lt"/>
                <a:ea typeface="Open Sans Light" panose="020B0306030504020204" pitchFamily="34" charset="0"/>
                <a:cs typeface="Open Sans Light" panose="020B0306030504020204" pitchFamily="34" charset="0"/>
              </a:rPr>
              <a:t>Sanierungs-konzepte</a:t>
            </a:r>
            <a:r>
              <a:rPr lang="en-GB" sz="2200" dirty="0">
                <a:solidFill>
                  <a:srgbClr val="245473"/>
                </a:solidFill>
                <a:latin typeface="+mj-lt"/>
                <a:ea typeface="Open Sans Light" panose="020B0306030504020204" pitchFamily="34" charset="0"/>
                <a:cs typeface="Open Sans Light" panose="020B0306030504020204" pitchFamily="34" charset="0"/>
              </a:rPr>
              <a:t> und </a:t>
            </a:r>
            <a:r>
              <a:rPr lang="en-GB" sz="2200" dirty="0" err="1">
                <a:solidFill>
                  <a:srgbClr val="245473"/>
                </a:solidFill>
                <a:latin typeface="+mj-lt"/>
                <a:ea typeface="Open Sans Light" panose="020B0306030504020204" pitchFamily="34" charset="0"/>
                <a:cs typeface="Open Sans Light" panose="020B0306030504020204" pitchFamily="34" charset="0"/>
              </a:rPr>
              <a:t>ausreichend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Sicherheiten</a:t>
            </a:r>
            <a:r>
              <a:rPr lang="en-GB" sz="2200" dirty="0">
                <a:solidFill>
                  <a:srgbClr val="245473"/>
                </a:solidFill>
                <a:latin typeface="+mj-lt"/>
                <a:ea typeface="Open Sans Light" panose="020B0306030504020204" pitchFamily="34" charset="0"/>
                <a:cs typeface="Open Sans Light" panose="020B0306030504020204" pitchFamily="34" charset="0"/>
              </a:rPr>
              <a:t>.</a:t>
            </a:r>
          </a:p>
        </p:txBody>
      </p:sp>
      <p:sp>
        <p:nvSpPr>
          <p:cNvPr id="37" name="Freeform 45">
            <a:extLst>
              <a:ext uri="{FF2B5EF4-FFF2-40B4-BE49-F238E27FC236}">
                <a16:creationId xmlns:a16="http://schemas.microsoft.com/office/drawing/2014/main" xmlns="" id="{84F898AE-A3F7-4A75-990F-4560D28792D6}"/>
              </a:ext>
            </a:extLst>
          </p:cNvPr>
          <p:cNvSpPr/>
          <p:nvPr/>
        </p:nvSpPr>
        <p:spPr>
          <a:xfrm>
            <a:off x="6955228" y="1921927"/>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8" name="Freeform 42">
            <a:extLst>
              <a:ext uri="{FF2B5EF4-FFF2-40B4-BE49-F238E27FC236}">
                <a16:creationId xmlns:a16="http://schemas.microsoft.com/office/drawing/2014/main" xmlns="" id="{2BA635C5-8B1A-4A12-8890-BC8D0678F95D}"/>
              </a:ext>
            </a:extLst>
          </p:cNvPr>
          <p:cNvSpPr/>
          <p:nvPr/>
        </p:nvSpPr>
        <p:spPr>
          <a:xfrm>
            <a:off x="7952502" y="2500540"/>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Freeform 41">
            <a:extLst>
              <a:ext uri="{FF2B5EF4-FFF2-40B4-BE49-F238E27FC236}">
                <a16:creationId xmlns:a16="http://schemas.microsoft.com/office/drawing/2014/main" xmlns="" id="{8E19D918-130D-4121-956A-E2F8FB7232F2}"/>
              </a:ext>
            </a:extLst>
          </p:cNvPr>
          <p:cNvSpPr/>
          <p:nvPr/>
        </p:nvSpPr>
        <p:spPr>
          <a:xfrm>
            <a:off x="6075853" y="2500907"/>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Freeform 37">
            <a:extLst>
              <a:ext uri="{FF2B5EF4-FFF2-40B4-BE49-F238E27FC236}">
                <a16:creationId xmlns:a16="http://schemas.microsoft.com/office/drawing/2014/main" xmlns="" id="{40DA72CA-FE52-422D-88DE-EF81D6498414}"/>
              </a:ext>
            </a:extLst>
          </p:cNvPr>
          <p:cNvSpPr/>
          <p:nvPr/>
        </p:nvSpPr>
        <p:spPr>
          <a:xfrm>
            <a:off x="8212126" y="3591264"/>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1" name="Freeform 36">
            <a:extLst>
              <a:ext uri="{FF2B5EF4-FFF2-40B4-BE49-F238E27FC236}">
                <a16:creationId xmlns:a16="http://schemas.microsoft.com/office/drawing/2014/main" xmlns="" id="{6D027986-0E11-4555-88E9-83580D56B424}"/>
              </a:ext>
            </a:extLst>
          </p:cNvPr>
          <p:cNvSpPr/>
          <p:nvPr/>
        </p:nvSpPr>
        <p:spPr>
          <a:xfrm>
            <a:off x="5700154" y="3601541"/>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Freeform 35">
            <a:extLst>
              <a:ext uri="{FF2B5EF4-FFF2-40B4-BE49-F238E27FC236}">
                <a16:creationId xmlns:a16="http://schemas.microsoft.com/office/drawing/2014/main" xmlns="" id="{93202081-7B2E-4D98-AF03-04AB4ADE8F92}"/>
              </a:ext>
            </a:extLst>
          </p:cNvPr>
          <p:cNvSpPr/>
          <p:nvPr/>
        </p:nvSpPr>
        <p:spPr>
          <a:xfrm>
            <a:off x="7636442" y="4428994"/>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Freeform 34">
            <a:extLst>
              <a:ext uri="{FF2B5EF4-FFF2-40B4-BE49-F238E27FC236}">
                <a16:creationId xmlns:a16="http://schemas.microsoft.com/office/drawing/2014/main" xmlns="" id="{CAA6782D-C519-4D61-B73E-5CA517151A93}"/>
              </a:ext>
            </a:extLst>
          </p:cNvPr>
          <p:cNvSpPr/>
          <p:nvPr/>
        </p:nvSpPr>
        <p:spPr>
          <a:xfrm>
            <a:off x="6408068" y="4430164"/>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TextBox 73">
            <a:extLst>
              <a:ext uri="{FF2B5EF4-FFF2-40B4-BE49-F238E27FC236}">
                <a16:creationId xmlns:a16="http://schemas.microsoft.com/office/drawing/2014/main" xmlns="" id="{925AE4B4-4483-48CE-AE22-7BECBB1E1658}"/>
              </a:ext>
            </a:extLst>
          </p:cNvPr>
          <p:cNvSpPr txBox="1"/>
          <p:nvPr/>
        </p:nvSpPr>
        <p:spPr>
          <a:xfrm>
            <a:off x="4702468" y="3845395"/>
            <a:ext cx="85953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Leasing</a:t>
            </a:r>
          </a:p>
        </p:txBody>
      </p:sp>
      <p:sp>
        <p:nvSpPr>
          <p:cNvPr id="53" name="TextBox 77">
            <a:extLst>
              <a:ext uri="{FF2B5EF4-FFF2-40B4-BE49-F238E27FC236}">
                <a16:creationId xmlns:a16="http://schemas.microsoft.com/office/drawing/2014/main" xmlns="" id="{CF2729CE-34A2-434A-B73B-139B78D1C0B6}"/>
              </a:ext>
            </a:extLst>
          </p:cNvPr>
          <p:cNvSpPr txBox="1"/>
          <p:nvPr/>
        </p:nvSpPr>
        <p:spPr>
          <a:xfrm>
            <a:off x="3707369" y="2684667"/>
            <a:ext cx="2195217" cy="646331"/>
          </a:xfrm>
          <a:prstGeom prst="rect">
            <a:avLst/>
          </a:prstGeom>
          <a:noFill/>
        </p:spPr>
        <p:txBody>
          <a:bodyPr wrap="none" lIns="91440" tIns="45720" rIns="91440" bIns="45720" rtlCol="0" anchor="b" anchorCtr="0">
            <a:spAutoFit/>
          </a:bodyPr>
          <a:lstStyle/>
          <a:p>
            <a:pPr algn="r"/>
            <a:r>
              <a:rPr lang="en-GB" b="1" dirty="0">
                <a:solidFill>
                  <a:schemeClr val="tx2"/>
                </a:solidFill>
                <a:latin typeface="+mj-lt"/>
                <a:ea typeface="League Spartan" charset="0"/>
                <a:cs typeface="Poppins" pitchFamily="2" charset="77"/>
              </a:rPr>
              <a:t>Darlehen von Kunden</a:t>
            </a:r>
            <a:r>
              <a:rPr lang="en-GB" b="1" dirty="0">
                <a:latin typeface="+mj-lt"/>
                <a:ea typeface="League Spartan" charset="0"/>
                <a:cs typeface="Poppins" pitchFamily="2" charset="77"/>
              </a:rPr>
              <a:t/>
            </a:r>
            <a:br>
              <a:rPr lang="en-GB" b="1" dirty="0">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Vorauszahlungen</a:t>
            </a:r>
          </a:p>
        </p:txBody>
      </p:sp>
      <p:sp>
        <p:nvSpPr>
          <p:cNvPr id="55" name="TextBox 38">
            <a:extLst>
              <a:ext uri="{FF2B5EF4-FFF2-40B4-BE49-F238E27FC236}">
                <a16:creationId xmlns:a16="http://schemas.microsoft.com/office/drawing/2014/main" xmlns="" id="{B169B7DE-AF7D-4153-91DA-2FF62C80F3FC}"/>
              </a:ext>
            </a:extLst>
          </p:cNvPr>
          <p:cNvSpPr txBox="1"/>
          <p:nvPr/>
        </p:nvSpPr>
        <p:spPr>
          <a:xfrm>
            <a:off x="9122950" y="1799407"/>
            <a:ext cx="2713372" cy="923330"/>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Neue Kredite von </a:t>
            </a:r>
            <a:r>
              <a:rPr lang="en-GB" b="1" dirty="0" err="1">
                <a:solidFill>
                  <a:schemeClr val="tx2"/>
                </a:solidFill>
                <a:latin typeface="+mj-lt"/>
                <a:ea typeface="League Spartan" charset="0"/>
                <a:cs typeface="Poppins" pitchFamily="2" charset="77"/>
              </a:rPr>
              <a:t>Finanziers</a:t>
            </a:r>
            <a:r>
              <a:rPr lang="en-GB" b="1" dirty="0">
                <a:solidFill>
                  <a:schemeClr val="tx2"/>
                </a:solidFill>
                <a:latin typeface="+mj-lt"/>
                <a:ea typeface="League Spartan" charset="0"/>
                <a:cs typeface="Poppins" pitchFamily="2" charset="77"/>
              </a:rPr>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saisonale Kredite / </a:t>
            </a:r>
          </a:p>
          <a:p>
            <a:r>
              <a:rPr lang="en-GB" b="1" dirty="0" err="1">
                <a:solidFill>
                  <a:schemeClr val="tx2"/>
                </a:solidFill>
                <a:latin typeface="+mj-lt"/>
                <a:ea typeface="League Spartan" charset="0"/>
                <a:cs typeface="Poppins" pitchFamily="2" charset="77"/>
              </a:rPr>
              <a:t>Überbrückungskredite</a:t>
            </a:r>
            <a:r>
              <a:rPr lang="en-GB" b="1" dirty="0">
                <a:solidFill>
                  <a:schemeClr val="tx2"/>
                </a:solidFill>
                <a:latin typeface="+mj-lt"/>
                <a:ea typeface="League Spartan" charset="0"/>
                <a:cs typeface="Poppins" pitchFamily="2" charset="77"/>
              </a:rPr>
              <a:t>)</a:t>
            </a:r>
          </a:p>
        </p:txBody>
      </p:sp>
      <p:sp>
        <p:nvSpPr>
          <p:cNvPr id="57" name="TextBox 43">
            <a:extLst>
              <a:ext uri="{FF2B5EF4-FFF2-40B4-BE49-F238E27FC236}">
                <a16:creationId xmlns:a16="http://schemas.microsoft.com/office/drawing/2014/main" xmlns="" id="{8EA0616A-01EF-4053-9FA3-F620D8E82904}"/>
              </a:ext>
            </a:extLst>
          </p:cNvPr>
          <p:cNvSpPr txBox="1"/>
          <p:nvPr/>
        </p:nvSpPr>
        <p:spPr>
          <a:xfrm>
            <a:off x="9328208" y="4838363"/>
            <a:ext cx="1529393"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Lieferantenkredit</a:t>
            </a:r>
          </a:p>
        </p:txBody>
      </p:sp>
      <p:sp>
        <p:nvSpPr>
          <p:cNvPr id="59" name="TextBox 47">
            <a:extLst>
              <a:ext uri="{FF2B5EF4-FFF2-40B4-BE49-F238E27FC236}">
                <a16:creationId xmlns:a16="http://schemas.microsoft.com/office/drawing/2014/main" xmlns="" id="{76FB90E6-7BCC-4038-9E1D-1FD9B8097DC3}"/>
              </a:ext>
            </a:extLst>
          </p:cNvPr>
          <p:cNvSpPr txBox="1"/>
          <p:nvPr/>
        </p:nvSpPr>
        <p:spPr>
          <a:xfrm>
            <a:off x="9631999" y="3333805"/>
            <a:ext cx="2209003" cy="646331"/>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Stundung und Verzicht</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durch Dritte</a:t>
            </a:r>
          </a:p>
        </p:txBody>
      </p:sp>
      <p:sp>
        <p:nvSpPr>
          <p:cNvPr id="61" name="TextBox 49">
            <a:extLst>
              <a:ext uri="{FF2B5EF4-FFF2-40B4-BE49-F238E27FC236}">
                <a16:creationId xmlns:a16="http://schemas.microsoft.com/office/drawing/2014/main" xmlns="" id="{9E0EBD04-430F-45E4-AC2E-AE6E0312ABA2}"/>
              </a:ext>
            </a:extLst>
          </p:cNvPr>
          <p:cNvSpPr txBox="1"/>
          <p:nvPr/>
        </p:nvSpPr>
        <p:spPr>
          <a:xfrm>
            <a:off x="5191509" y="4895267"/>
            <a:ext cx="1027397"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Factoring</a:t>
            </a:r>
          </a:p>
        </p:txBody>
      </p:sp>
      <p:sp>
        <p:nvSpPr>
          <p:cNvPr id="63" name="TextBox 51">
            <a:extLst>
              <a:ext uri="{FF2B5EF4-FFF2-40B4-BE49-F238E27FC236}">
                <a16:creationId xmlns:a16="http://schemas.microsoft.com/office/drawing/2014/main" xmlns="" id="{3845AEE9-F942-44F7-B23F-1FA62DBF43C9}"/>
              </a:ext>
            </a:extLst>
          </p:cNvPr>
          <p:cNvSpPr txBox="1"/>
          <p:nvPr/>
        </p:nvSpPr>
        <p:spPr>
          <a:xfrm>
            <a:off x="4304354" y="1929881"/>
            <a:ext cx="2531079"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Gesellschafterdarlehen (Eigenkapital)</a:t>
            </a:r>
          </a:p>
        </p:txBody>
      </p:sp>
      <p:sp>
        <p:nvSpPr>
          <p:cNvPr id="65" name="TextBox 51">
            <a:extLst>
              <a:ext uri="{FF2B5EF4-FFF2-40B4-BE49-F238E27FC236}">
                <a16:creationId xmlns:a16="http://schemas.microsoft.com/office/drawing/2014/main" xmlns="" id="{4BAB2ABE-A346-4F45-976F-A339E4ACD72C}"/>
              </a:ext>
            </a:extLst>
          </p:cNvPr>
          <p:cNvSpPr txBox="1"/>
          <p:nvPr/>
        </p:nvSpPr>
        <p:spPr>
          <a:xfrm>
            <a:off x="7188608" y="3582570"/>
            <a:ext cx="737894" cy="584775"/>
          </a:xfrm>
          <a:prstGeom prst="rect">
            <a:avLst/>
          </a:prstGeom>
          <a:noFill/>
        </p:spPr>
        <p:txBody>
          <a:bodyPr wrap="none" rtlCol="0" anchor="b" anchorCtr="0">
            <a:spAutoFit/>
          </a:bodyPr>
          <a:lstStyle/>
          <a:p>
            <a:pPr algn="ctr"/>
            <a:r>
              <a:rPr lang="en-GB" sz="1600" b="1">
                <a:solidFill>
                  <a:schemeClr val="tx2"/>
                </a:solidFill>
                <a:latin typeface="+mj-lt"/>
                <a:ea typeface="League Spartan" charset="0"/>
                <a:cs typeface="Poppins" pitchFamily="2" charset="77"/>
              </a:rPr>
              <a:t>Schulden</a:t>
            </a:r>
            <a:br>
              <a:rPr lang="en-GB" sz="1600" b="1">
                <a:solidFill>
                  <a:schemeClr val="tx2"/>
                </a:solidFill>
                <a:latin typeface="+mj-lt"/>
                <a:ea typeface="League Spartan" charset="0"/>
                <a:cs typeface="Poppins" pitchFamily="2" charset="77"/>
              </a:rPr>
            </a:br>
            <a:r>
              <a:rPr lang="en-GB" sz="1600" b="1">
                <a:solidFill>
                  <a:schemeClr val="tx2"/>
                </a:solidFill>
                <a:latin typeface="+mj-lt"/>
                <a:ea typeface="League Spartan" charset="0"/>
                <a:cs typeface="Poppins" pitchFamily="2" charset="77"/>
              </a:rPr>
              <a:t>Kapital</a:t>
            </a:r>
            <a:endParaRPr lang="en-GB" sz="1600" b="1" dirty="0">
              <a:solidFill>
                <a:schemeClr val="tx2"/>
              </a:solidFill>
              <a:latin typeface="+mj-lt"/>
              <a:ea typeface="League Spartan" charset="0"/>
              <a:cs typeface="Poppins" pitchFamily="2" charset="77"/>
            </a:endParaRPr>
          </a:p>
        </p:txBody>
      </p:sp>
      <p:sp>
        <p:nvSpPr>
          <p:cNvPr id="21" name="Textplatzhalter 1">
            <a:extLst>
              <a:ext uri="{FF2B5EF4-FFF2-40B4-BE49-F238E27FC236}">
                <a16:creationId xmlns:a16="http://schemas.microsoft.com/office/drawing/2014/main" xmlns="" id="{6625F8B3-7C59-442C-ADF2-233FE9CBE31F}"/>
              </a:ext>
            </a:extLst>
          </p:cNvPr>
          <p:cNvSpPr>
            <a:spLocks noGrp="1"/>
          </p:cNvSpPr>
          <p:nvPr>
            <p:ph type="body" sz="quarter" idx="13"/>
          </p:nvPr>
        </p:nvSpPr>
        <p:spPr>
          <a:xfrm>
            <a:off x="1310836" y="619207"/>
            <a:ext cx="8852375" cy="697353"/>
          </a:xfrm>
        </p:spPr>
        <p:txBody>
          <a:bodyPr>
            <a:normAutofit/>
          </a:bodyPr>
          <a:lstStyle/>
          <a:p>
            <a:r>
              <a:rPr lang="en-GB" dirty="0" err="1"/>
              <a:t>Bewältigung</a:t>
            </a:r>
            <a:r>
              <a:rPr lang="en-GB" dirty="0"/>
              <a:t> </a:t>
            </a:r>
            <a:r>
              <a:rPr lang="en-GB" dirty="0" err="1"/>
              <a:t>einer</a:t>
            </a:r>
            <a:r>
              <a:rPr lang="en-GB" dirty="0"/>
              <a:t> </a:t>
            </a:r>
            <a:r>
              <a:rPr lang="en-GB" dirty="0" err="1"/>
              <a:t>Liquiditätskrise</a:t>
            </a:r>
            <a:r>
              <a:rPr lang="en-GB" dirty="0"/>
              <a:t> (Forts.)</a:t>
            </a:r>
          </a:p>
        </p:txBody>
      </p:sp>
    </p:spTree>
    <p:extLst>
      <p:ext uri="{BB962C8B-B14F-4D97-AF65-F5344CB8AC3E}">
        <p14:creationId xmlns:p14="http://schemas.microsoft.com/office/powerpoint/2010/main" val="3205006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43518" y="550011"/>
            <a:ext cx="8852375" cy="697353"/>
          </a:xfrm>
        </p:spPr>
        <p:txBody>
          <a:bodyPr>
            <a:normAutofit/>
          </a:bodyPr>
          <a:lstStyle/>
          <a:p>
            <a:r>
              <a:rPr lang="en-GB" dirty="0"/>
              <a:t>Schnelle Maßnahmen: Marketing und Vertrieb</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5808" y="2055551"/>
            <a:ext cx="2365324"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einer </a:t>
            </a:r>
            <a:r>
              <a:rPr lang="en-GB" sz="2200" dirty="0" err="1">
                <a:solidFill>
                  <a:srgbClr val="245473"/>
                </a:solidFill>
                <a:latin typeface="+mj-lt"/>
                <a:ea typeface="Open Sans Light" panose="020B0306030504020204" pitchFamily="34" charset="0"/>
                <a:cs typeface="Open Sans Light" panose="020B0306030504020204" pitchFamily="34" charset="0"/>
              </a:rPr>
              <a:t>virulent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Unternehmens-krise</a:t>
            </a:r>
            <a:r>
              <a:rPr lang="en-GB" sz="2200" dirty="0">
                <a:solidFill>
                  <a:srgbClr val="245473"/>
                </a:solidFill>
                <a:latin typeface="+mj-lt"/>
                <a:ea typeface="Open Sans Light" panose="020B0306030504020204" pitchFamily="34" charset="0"/>
                <a:cs typeface="Open Sans Light" panose="020B0306030504020204" pitchFamily="34" charset="0"/>
              </a:rPr>
              <a:t> sind alle Lösungen besonders geeignet, die geringe Vorabinvestitionen erfordern und sich sofort positiv auf den Cashflow auswirken. </a:t>
            </a:r>
            <a:endParaRPr lang="en-US" dirty="0">
              <a:solidFill>
                <a:srgbClr val="245473"/>
              </a:solidFill>
            </a:endParaRPr>
          </a:p>
        </p:txBody>
      </p:sp>
      <p:sp>
        <p:nvSpPr>
          <p:cNvPr id="22" name="Freeform 61">
            <a:extLst>
              <a:ext uri="{FF2B5EF4-FFF2-40B4-BE49-F238E27FC236}">
                <a16:creationId xmlns:a16="http://schemas.microsoft.com/office/drawing/2014/main" xmlns="" id="{361A3FCD-D7D7-4355-A5A1-9B54C1038196}"/>
              </a:ext>
            </a:extLst>
          </p:cNvPr>
          <p:cNvSpPr/>
          <p:nvPr/>
        </p:nvSpPr>
        <p:spPr>
          <a:xfrm rot="1363340">
            <a:off x="6981834" y="2166903"/>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Freeform 75">
            <a:extLst>
              <a:ext uri="{FF2B5EF4-FFF2-40B4-BE49-F238E27FC236}">
                <a16:creationId xmlns:a16="http://schemas.microsoft.com/office/drawing/2014/main" xmlns="" id="{3B0031A6-37AF-4A14-9399-BFEF2633D35A}"/>
              </a:ext>
            </a:extLst>
          </p:cNvPr>
          <p:cNvSpPr/>
          <p:nvPr/>
        </p:nvSpPr>
        <p:spPr>
          <a:xfrm rot="1363340">
            <a:off x="7671719" y="2933497"/>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4" name="Freeform 63">
            <a:extLst>
              <a:ext uri="{FF2B5EF4-FFF2-40B4-BE49-F238E27FC236}">
                <a16:creationId xmlns:a16="http://schemas.microsoft.com/office/drawing/2014/main" xmlns="" id="{74EC6A1F-D0DF-4D87-B9F0-1FF922EF1C32}"/>
              </a:ext>
            </a:extLst>
          </p:cNvPr>
          <p:cNvSpPr/>
          <p:nvPr/>
        </p:nvSpPr>
        <p:spPr>
          <a:xfrm rot="1363340">
            <a:off x="5996210" y="2232055"/>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 name="Freeform 65">
            <a:extLst>
              <a:ext uri="{FF2B5EF4-FFF2-40B4-BE49-F238E27FC236}">
                <a16:creationId xmlns:a16="http://schemas.microsoft.com/office/drawing/2014/main" xmlns="" id="{3E1AA224-C669-4D6B-9E49-4B7D3C684148}"/>
              </a:ext>
            </a:extLst>
          </p:cNvPr>
          <p:cNvSpPr/>
          <p:nvPr/>
        </p:nvSpPr>
        <p:spPr>
          <a:xfrm rot="1363340">
            <a:off x="5231719" y="2895372"/>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Freeform 73">
            <a:extLst>
              <a:ext uri="{FF2B5EF4-FFF2-40B4-BE49-F238E27FC236}">
                <a16:creationId xmlns:a16="http://schemas.microsoft.com/office/drawing/2014/main" xmlns="" id="{8E976339-5835-448E-8AE2-B93D23E9593B}"/>
              </a:ext>
            </a:extLst>
          </p:cNvPr>
          <p:cNvSpPr/>
          <p:nvPr/>
        </p:nvSpPr>
        <p:spPr>
          <a:xfrm rot="1363340">
            <a:off x="7687607" y="3926657"/>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Freeform 67">
            <a:extLst>
              <a:ext uri="{FF2B5EF4-FFF2-40B4-BE49-F238E27FC236}">
                <a16:creationId xmlns:a16="http://schemas.microsoft.com/office/drawing/2014/main" xmlns="" id="{C67F7723-1E47-4F65-8429-7019E5672075}"/>
              </a:ext>
            </a:extLst>
          </p:cNvPr>
          <p:cNvSpPr/>
          <p:nvPr/>
        </p:nvSpPr>
        <p:spPr>
          <a:xfrm rot="1363340">
            <a:off x="5295019" y="3904344"/>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Freeform 71">
            <a:extLst>
              <a:ext uri="{FF2B5EF4-FFF2-40B4-BE49-F238E27FC236}">
                <a16:creationId xmlns:a16="http://schemas.microsoft.com/office/drawing/2014/main" xmlns="" id="{109F3C60-32FD-40AB-B3B6-CA40C2DBA79F}"/>
              </a:ext>
            </a:extLst>
          </p:cNvPr>
          <p:cNvSpPr/>
          <p:nvPr/>
        </p:nvSpPr>
        <p:spPr>
          <a:xfrm rot="1363340">
            <a:off x="6972421" y="4607271"/>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9" name="Freeform 69">
            <a:extLst>
              <a:ext uri="{FF2B5EF4-FFF2-40B4-BE49-F238E27FC236}">
                <a16:creationId xmlns:a16="http://schemas.microsoft.com/office/drawing/2014/main" xmlns="" id="{F6AC6288-AA85-47F2-BA50-B6A2A9B64AC2}"/>
              </a:ext>
            </a:extLst>
          </p:cNvPr>
          <p:cNvSpPr/>
          <p:nvPr/>
        </p:nvSpPr>
        <p:spPr>
          <a:xfrm rot="1363340">
            <a:off x="5956797" y="4623623"/>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0" name="Oval 76">
            <a:extLst>
              <a:ext uri="{FF2B5EF4-FFF2-40B4-BE49-F238E27FC236}">
                <a16:creationId xmlns:a16="http://schemas.microsoft.com/office/drawing/2014/main" xmlns="" id="{BD98693B-F168-4AE4-9448-7BF01F4A2724}"/>
              </a:ext>
            </a:extLst>
          </p:cNvPr>
          <p:cNvSpPr/>
          <p:nvPr/>
        </p:nvSpPr>
        <p:spPr>
          <a:xfrm>
            <a:off x="6273463" y="3239765"/>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7">
            <a:extLst>
              <a:ext uri="{FF2B5EF4-FFF2-40B4-BE49-F238E27FC236}">
                <a16:creationId xmlns:a16="http://schemas.microsoft.com/office/drawing/2014/main" xmlns="" id="{BB3391A6-0CE4-46DA-BC63-DC03FCBC58DE}"/>
              </a:ext>
            </a:extLst>
          </p:cNvPr>
          <p:cNvSpPr txBox="1"/>
          <p:nvPr/>
        </p:nvSpPr>
        <p:spPr>
          <a:xfrm>
            <a:off x="5997317" y="5789366"/>
            <a:ext cx="106259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Kunden</a:t>
            </a:r>
          </a:p>
        </p:txBody>
      </p:sp>
      <p:sp>
        <p:nvSpPr>
          <p:cNvPr id="32" name="Subtitle 2">
            <a:extLst>
              <a:ext uri="{FF2B5EF4-FFF2-40B4-BE49-F238E27FC236}">
                <a16:creationId xmlns:a16="http://schemas.microsoft.com/office/drawing/2014/main" xmlns="" id="{D3182226-A86C-4C45-AE43-43514747DF31}"/>
              </a:ext>
            </a:extLst>
          </p:cNvPr>
          <p:cNvSpPr txBox="1">
            <a:spLocks/>
          </p:cNvSpPr>
          <p:nvPr/>
        </p:nvSpPr>
        <p:spPr>
          <a:xfrm>
            <a:off x="5564019" y="6027328"/>
            <a:ext cx="2743439" cy="5763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ysieren</a:t>
            </a:r>
            <a:r>
              <a:rPr lang="en-GB" sz="1600" dirty="0">
                <a:solidFill>
                  <a:schemeClr val="tx1"/>
                </a:solidFill>
                <a:latin typeface="+mj-lt"/>
                <a:ea typeface="Lato Light" panose="020F0502020204030203" pitchFamily="34" charset="0"/>
                <a:cs typeface="Mukta ExtraLight" panose="020B0000000000000000" pitchFamily="34" charset="77"/>
              </a:rPr>
              <a:t> Sie die </a:t>
            </a:r>
            <a:r>
              <a:rPr lang="en-GB" sz="1600" dirty="0" err="1">
                <a:solidFill>
                  <a:schemeClr val="tx1"/>
                </a:solidFill>
                <a:latin typeface="+mj-lt"/>
                <a:ea typeface="Lato Light" panose="020F0502020204030203" pitchFamily="34" charset="0"/>
                <a:cs typeface="Mukta ExtraLight" panose="020B0000000000000000" pitchFamily="34" charset="77"/>
              </a:rPr>
              <a:t>Stabilität</a:t>
            </a:r>
            <a:endParaRPr lang="en-GB" sz="1600" dirty="0">
              <a:solidFill>
                <a:schemeClr val="tx1"/>
              </a:solidFill>
              <a:latin typeface="+mj-lt"/>
              <a:ea typeface="Lato Light" panose="020F0502020204030203" pitchFamily="34" charset="0"/>
              <a:cs typeface="Mukta ExtraLight" panose="020B0000000000000000" pitchFamily="34" charset="77"/>
            </a:endParaRPr>
          </a:p>
          <a:p>
            <a:pPr algn="r">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Ihrer</a:t>
            </a:r>
            <a:r>
              <a:rPr lang="en-GB" sz="1600" dirty="0">
                <a:solidFill>
                  <a:schemeClr val="tx1"/>
                </a:solidFill>
                <a:latin typeface="+mj-lt"/>
                <a:ea typeface="Lato Light" panose="020F0502020204030203" pitchFamily="34" charset="0"/>
                <a:cs typeface="Mukta ExtraLight" panose="020B0000000000000000" pitchFamily="34" charset="77"/>
              </a:rPr>
              <a:t> </a:t>
            </a:r>
            <a:r>
              <a:rPr lang="en-GB" sz="1600" dirty="0" err="1">
                <a:solidFill>
                  <a:schemeClr val="tx1"/>
                </a:solidFill>
                <a:latin typeface="+mj-lt"/>
                <a:ea typeface="Lato Light" panose="020F0502020204030203" pitchFamily="34" charset="0"/>
                <a:cs typeface="Mukta ExtraLight" panose="020B0000000000000000" pitchFamily="34" charset="77"/>
              </a:rPr>
              <a:t>Kundenbeziehungen</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3" name="TextBox 85">
            <a:extLst>
              <a:ext uri="{FF2B5EF4-FFF2-40B4-BE49-F238E27FC236}">
                <a16:creationId xmlns:a16="http://schemas.microsoft.com/office/drawing/2014/main" xmlns="" id="{AF55652E-BF80-4906-80CD-420241EFFBDF}"/>
              </a:ext>
            </a:extLst>
          </p:cNvPr>
          <p:cNvSpPr txBox="1"/>
          <p:nvPr/>
        </p:nvSpPr>
        <p:spPr>
          <a:xfrm>
            <a:off x="8440449" y="5111199"/>
            <a:ext cx="108536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Motivation</a:t>
            </a:r>
          </a:p>
        </p:txBody>
      </p:sp>
      <p:sp>
        <p:nvSpPr>
          <p:cNvPr id="47" name="Subtitle 2">
            <a:extLst>
              <a:ext uri="{FF2B5EF4-FFF2-40B4-BE49-F238E27FC236}">
                <a16:creationId xmlns:a16="http://schemas.microsoft.com/office/drawing/2014/main" xmlns="" id="{AECEEAC5-F301-492B-8EC5-10575E31FB88}"/>
              </a:ext>
            </a:extLst>
          </p:cNvPr>
          <p:cNvSpPr txBox="1">
            <a:spLocks/>
          </p:cNvSpPr>
          <p:nvPr/>
        </p:nvSpPr>
        <p:spPr>
          <a:xfrm>
            <a:off x="8468468" y="5398994"/>
            <a:ext cx="37515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Prüfen Sie, ob Ihr Motivationssystem für Ihr Vertriebsteam richtig ist</a:t>
            </a:r>
          </a:p>
        </p:txBody>
      </p:sp>
      <p:sp>
        <p:nvSpPr>
          <p:cNvPr id="48" name="TextBox 79">
            <a:extLst>
              <a:ext uri="{FF2B5EF4-FFF2-40B4-BE49-F238E27FC236}">
                <a16:creationId xmlns:a16="http://schemas.microsoft.com/office/drawing/2014/main" xmlns="" id="{8C58F44C-127B-41D4-8EA0-1F12C3EEBCF0}"/>
              </a:ext>
            </a:extLst>
          </p:cNvPr>
          <p:cNvSpPr txBox="1"/>
          <p:nvPr/>
        </p:nvSpPr>
        <p:spPr>
          <a:xfrm>
            <a:off x="4797737" y="1892068"/>
            <a:ext cx="1157689"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Informationen</a:t>
            </a:r>
          </a:p>
        </p:txBody>
      </p:sp>
      <p:sp>
        <p:nvSpPr>
          <p:cNvPr id="49" name="Subtitle 2">
            <a:extLst>
              <a:ext uri="{FF2B5EF4-FFF2-40B4-BE49-F238E27FC236}">
                <a16:creationId xmlns:a16="http://schemas.microsoft.com/office/drawing/2014/main" xmlns="" id="{58261CC9-FE84-4A55-97BD-4DC8FD78399D}"/>
              </a:ext>
            </a:extLst>
          </p:cNvPr>
          <p:cNvSpPr txBox="1">
            <a:spLocks/>
          </p:cNvSpPr>
          <p:nvPr/>
        </p:nvSpPr>
        <p:spPr>
          <a:xfrm>
            <a:off x="2576571" y="2124247"/>
            <a:ext cx="332107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Sammeln und </a:t>
            </a:r>
            <a:r>
              <a:rPr lang="en-GB" sz="1600" dirty="0" err="1">
                <a:solidFill>
                  <a:schemeClr val="tx1"/>
                </a:solidFill>
                <a:latin typeface="+mj-lt"/>
                <a:ea typeface="Lato Light" panose="020F0502020204030203" pitchFamily="34" charset="0"/>
                <a:cs typeface="Mukta ExtraLight" panose="020B0000000000000000" pitchFamily="34" charset="77"/>
              </a:rPr>
              <a:t>analysieren Sie </a:t>
            </a:r>
            <a:r>
              <a:rPr lang="en-GB" sz="1600" dirty="0">
                <a:solidFill>
                  <a:schemeClr val="tx1"/>
                </a:solidFill>
                <a:latin typeface="+mj-lt"/>
                <a:ea typeface="Lato Light" panose="020F0502020204030203" pitchFamily="34" charset="0"/>
                <a:cs typeface="Mukta ExtraLight" panose="020B0000000000000000" pitchFamily="34" charset="77"/>
              </a:rPr>
              <a:t>alle Informationen aus Ihrem Marketing und Vertrieb</a:t>
            </a:r>
          </a:p>
        </p:txBody>
      </p:sp>
      <p:sp>
        <p:nvSpPr>
          <p:cNvPr id="51" name="TextBox 87">
            <a:extLst>
              <a:ext uri="{FF2B5EF4-FFF2-40B4-BE49-F238E27FC236}">
                <a16:creationId xmlns:a16="http://schemas.microsoft.com/office/drawing/2014/main" xmlns="" id="{47EBE585-CA3F-48DE-9A86-B30384E17B77}"/>
              </a:ext>
            </a:extLst>
          </p:cNvPr>
          <p:cNvSpPr txBox="1"/>
          <p:nvPr/>
        </p:nvSpPr>
        <p:spPr>
          <a:xfrm>
            <a:off x="8440449" y="1961582"/>
            <a:ext cx="577402"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CRM</a:t>
            </a:r>
            <a:endParaRPr lang="en-GB" sz="1600" b="1" dirty="0">
              <a:solidFill>
                <a:schemeClr val="tx2"/>
              </a:solidFill>
              <a:latin typeface="+mj-lt"/>
              <a:ea typeface="League Spartan" charset="0"/>
              <a:cs typeface="Poppins" pitchFamily="2" charset="77"/>
            </a:endParaRPr>
          </a:p>
        </p:txBody>
      </p:sp>
      <p:sp>
        <p:nvSpPr>
          <p:cNvPr id="52" name="Subtitle 2">
            <a:extLst>
              <a:ext uri="{FF2B5EF4-FFF2-40B4-BE49-F238E27FC236}">
                <a16:creationId xmlns:a16="http://schemas.microsoft.com/office/drawing/2014/main" xmlns="" id="{89D57022-679B-4654-A934-77F162EDB5AD}"/>
              </a:ext>
            </a:extLst>
          </p:cNvPr>
          <p:cNvSpPr txBox="1">
            <a:spLocks/>
          </p:cNvSpPr>
          <p:nvPr/>
        </p:nvSpPr>
        <p:spPr>
          <a:xfrm>
            <a:off x="8380537" y="2262286"/>
            <a:ext cx="3128623"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Implementieren Sie ein CRM-System, wenn Sie noch keines haben</a:t>
            </a:r>
          </a:p>
        </p:txBody>
      </p:sp>
      <p:sp>
        <p:nvSpPr>
          <p:cNvPr id="53" name="TextBox 81">
            <a:extLst>
              <a:ext uri="{FF2B5EF4-FFF2-40B4-BE49-F238E27FC236}">
                <a16:creationId xmlns:a16="http://schemas.microsoft.com/office/drawing/2014/main" xmlns="" id="{D0CCABA2-3988-4478-BFDB-D8053331DE5E}"/>
              </a:ext>
            </a:extLst>
          </p:cNvPr>
          <p:cNvSpPr txBox="1"/>
          <p:nvPr/>
        </p:nvSpPr>
        <p:spPr>
          <a:xfrm>
            <a:off x="3320424" y="4598636"/>
            <a:ext cx="1951881"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Kurzfristiger Verkaufsplan</a:t>
            </a:r>
          </a:p>
        </p:txBody>
      </p:sp>
      <p:sp>
        <p:nvSpPr>
          <p:cNvPr id="54" name="Subtitle 2">
            <a:extLst>
              <a:ext uri="{FF2B5EF4-FFF2-40B4-BE49-F238E27FC236}">
                <a16:creationId xmlns:a16="http://schemas.microsoft.com/office/drawing/2014/main" xmlns="" id="{05BBC4BB-1E04-4460-870C-A88CB6646529}"/>
              </a:ext>
            </a:extLst>
          </p:cNvPr>
          <p:cNvSpPr txBox="1">
            <a:spLocks/>
          </p:cNvSpPr>
          <p:nvPr/>
        </p:nvSpPr>
        <p:spPr>
          <a:xfrm>
            <a:off x="2527375" y="4890205"/>
            <a:ext cx="2842453"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Entwickeln Sie einen kurzfristigen Verkaufsplan und konzentrieren Sie sich auf Produkte mit hoher Gewinnspanne, Auslaufprodukte und Produkte mit hohem Lagerbestand </a:t>
            </a:r>
          </a:p>
        </p:txBody>
      </p:sp>
      <p:sp>
        <p:nvSpPr>
          <p:cNvPr id="55" name="TextBox 89">
            <a:extLst>
              <a:ext uri="{FF2B5EF4-FFF2-40B4-BE49-F238E27FC236}">
                <a16:creationId xmlns:a16="http://schemas.microsoft.com/office/drawing/2014/main" xmlns="" id="{27EB0714-4A05-4D11-9ED9-7A9281428A20}"/>
              </a:ext>
            </a:extLst>
          </p:cNvPr>
          <p:cNvSpPr txBox="1"/>
          <p:nvPr/>
        </p:nvSpPr>
        <p:spPr>
          <a:xfrm>
            <a:off x="8852409" y="4120569"/>
            <a:ext cx="108754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Steuerung</a:t>
            </a:r>
          </a:p>
        </p:txBody>
      </p:sp>
      <p:sp>
        <p:nvSpPr>
          <p:cNvPr id="56" name="Subtitle 2">
            <a:extLst>
              <a:ext uri="{FF2B5EF4-FFF2-40B4-BE49-F238E27FC236}">
                <a16:creationId xmlns:a16="http://schemas.microsoft.com/office/drawing/2014/main" xmlns="" id="{0220A0EC-A3A1-41E0-9EE8-6F8628EB08D3}"/>
              </a:ext>
            </a:extLst>
          </p:cNvPr>
          <p:cNvSpPr txBox="1">
            <a:spLocks/>
          </p:cNvSpPr>
          <p:nvPr/>
        </p:nvSpPr>
        <p:spPr>
          <a:xfrm>
            <a:off x="8950401" y="4410115"/>
            <a:ext cx="3590298"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Marketing- und Vertriebscontrolling einführen</a:t>
            </a:r>
          </a:p>
        </p:txBody>
      </p:sp>
      <p:sp>
        <p:nvSpPr>
          <p:cNvPr id="58" name="TextBox 83">
            <a:extLst>
              <a:ext uri="{FF2B5EF4-FFF2-40B4-BE49-F238E27FC236}">
                <a16:creationId xmlns:a16="http://schemas.microsoft.com/office/drawing/2014/main" xmlns="" id="{05556B01-6051-4402-AED7-C5CA00BE8B6C}"/>
              </a:ext>
            </a:extLst>
          </p:cNvPr>
          <p:cNvSpPr txBox="1"/>
          <p:nvPr/>
        </p:nvSpPr>
        <p:spPr>
          <a:xfrm>
            <a:off x="2808630" y="3147739"/>
            <a:ext cx="2341109" cy="584775"/>
          </a:xfrm>
          <a:prstGeom prst="rect">
            <a:avLst/>
          </a:prstGeom>
          <a:noFill/>
        </p:spPr>
        <p:txBody>
          <a:bodyPr wrap="square" lIns="91440" tIns="45720" rIns="91440" bIns="45720" rtlCol="0" anchor="b" anchorCtr="0">
            <a:spAutoFit/>
          </a:bodyPr>
          <a:lstStyle/>
          <a:p>
            <a:pPr algn="r"/>
            <a:r>
              <a:rPr lang="en-GB" sz="1600" b="1" dirty="0">
                <a:solidFill>
                  <a:schemeClr val="tx2"/>
                </a:solidFill>
                <a:latin typeface="+mj-lt"/>
                <a:ea typeface="League Spartan" charset="0"/>
                <a:cs typeface="Poppins" pitchFamily="2" charset="77"/>
              </a:rPr>
              <a:t>Marktübersicht und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langfristiger Plan</a:t>
            </a:r>
          </a:p>
        </p:txBody>
      </p:sp>
      <p:sp>
        <p:nvSpPr>
          <p:cNvPr id="59" name="Subtitle 2">
            <a:extLst>
              <a:ext uri="{FF2B5EF4-FFF2-40B4-BE49-F238E27FC236}">
                <a16:creationId xmlns:a16="http://schemas.microsoft.com/office/drawing/2014/main" xmlns="" id="{6F13B00C-F0FA-46B1-9A1E-F4C15FBAAB84}"/>
              </a:ext>
            </a:extLst>
          </p:cNvPr>
          <p:cNvSpPr txBox="1">
            <a:spLocks/>
          </p:cNvSpPr>
          <p:nvPr/>
        </p:nvSpPr>
        <p:spPr>
          <a:xfrm>
            <a:off x="2515227" y="3657919"/>
            <a:ext cx="266986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Führen Sie eine Marktanalyse durch und entwickeln Sie einen langfristigen Plan</a:t>
            </a:r>
          </a:p>
        </p:txBody>
      </p:sp>
      <p:sp>
        <p:nvSpPr>
          <p:cNvPr id="60" name="TextBox 91">
            <a:extLst>
              <a:ext uri="{FF2B5EF4-FFF2-40B4-BE49-F238E27FC236}">
                <a16:creationId xmlns:a16="http://schemas.microsoft.com/office/drawing/2014/main" xmlns="" id="{3DDC76B6-B4A4-4499-9135-5BDE62473681}"/>
              </a:ext>
            </a:extLst>
          </p:cNvPr>
          <p:cNvSpPr txBox="1"/>
          <p:nvPr/>
        </p:nvSpPr>
        <p:spPr>
          <a:xfrm>
            <a:off x="8950401" y="3131165"/>
            <a:ext cx="1375698" cy="338554"/>
          </a:xfrm>
          <a:prstGeom prst="rect">
            <a:avLst/>
          </a:prstGeom>
          <a:noFill/>
        </p:spPr>
        <p:txBody>
          <a:bodyPr wrap="none" rtlCol="0" anchor="b" anchorCtr="0">
            <a:spAutoFit/>
          </a:bodyPr>
          <a:lstStyle/>
          <a:p>
            <a:r>
              <a:rPr lang="en-GB" sz="1600" b="1">
                <a:solidFill>
                  <a:schemeClr val="tx2"/>
                </a:solidFill>
                <a:latin typeface="+mj-lt"/>
                <a:ea typeface="League Spartan" charset="0"/>
                <a:cs typeface="Poppins" pitchFamily="2" charset="77"/>
              </a:rPr>
              <a:t>Marketing-Mix</a:t>
            </a:r>
            <a:endParaRPr lang="en-GB" sz="1600" b="1" dirty="0">
              <a:solidFill>
                <a:schemeClr val="tx2"/>
              </a:solidFill>
              <a:latin typeface="+mj-lt"/>
              <a:ea typeface="League Spartan" charset="0"/>
              <a:cs typeface="Poppins" pitchFamily="2" charset="77"/>
            </a:endParaRPr>
          </a:p>
        </p:txBody>
      </p:sp>
      <p:sp>
        <p:nvSpPr>
          <p:cNvPr id="61" name="Subtitle 2">
            <a:extLst>
              <a:ext uri="{FF2B5EF4-FFF2-40B4-BE49-F238E27FC236}">
                <a16:creationId xmlns:a16="http://schemas.microsoft.com/office/drawing/2014/main" xmlns="" id="{D1DCE71F-8712-4E81-8EDB-9CF5ED34B335}"/>
              </a:ext>
            </a:extLst>
          </p:cNvPr>
          <p:cNvSpPr txBox="1">
            <a:spLocks/>
          </p:cNvSpPr>
          <p:nvPr/>
        </p:nvSpPr>
        <p:spPr>
          <a:xfrm>
            <a:off x="9008739" y="3408340"/>
            <a:ext cx="307570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err="1">
                <a:solidFill>
                  <a:schemeClr val="tx1"/>
                </a:solidFill>
                <a:latin typeface="+mj-lt"/>
                <a:ea typeface="Lato Light" panose="020F0502020204030203" pitchFamily="34" charset="0"/>
                <a:cs typeface="Mukta ExtraLight" panose="020B0000000000000000" pitchFamily="34" charset="77"/>
              </a:rPr>
              <a:t>Analysieren Sie </a:t>
            </a:r>
            <a:r>
              <a:rPr lang="en-GB" sz="1600" dirty="0">
                <a:solidFill>
                  <a:schemeClr val="tx1"/>
                </a:solidFill>
                <a:latin typeface="+mj-lt"/>
                <a:ea typeface="Lato Light" panose="020F0502020204030203" pitchFamily="34" charset="0"/>
                <a:cs typeface="Mukta ExtraLight" panose="020B0000000000000000" pitchFamily="34" charset="77"/>
              </a:rPr>
              <a:t>Ihren Marketing-Mix auf neue Möglichkeiten</a:t>
            </a:r>
          </a:p>
        </p:txBody>
      </p:sp>
      <p:sp>
        <p:nvSpPr>
          <p:cNvPr id="62" name="TextBox 38">
            <a:extLst>
              <a:ext uri="{FF2B5EF4-FFF2-40B4-BE49-F238E27FC236}">
                <a16:creationId xmlns:a16="http://schemas.microsoft.com/office/drawing/2014/main" xmlns="" id="{61CFDF05-6B57-4B13-8D8A-CFC115D9461D}"/>
              </a:ext>
            </a:extLst>
          </p:cNvPr>
          <p:cNvSpPr txBox="1"/>
          <p:nvPr/>
        </p:nvSpPr>
        <p:spPr>
          <a:xfrm>
            <a:off x="6306637" y="3594441"/>
            <a:ext cx="1459259" cy="1015663"/>
          </a:xfrm>
          <a:prstGeom prst="rect">
            <a:avLst/>
          </a:prstGeom>
          <a:noFill/>
        </p:spPr>
        <p:txBody>
          <a:bodyPr wrap="square" rtlCol="0" anchor="ctr" anchorCtr="0">
            <a:spAutoFit/>
          </a:bodyPr>
          <a:lstStyle/>
          <a:p>
            <a:pPr algn="ctr"/>
            <a:r>
              <a:rPr lang="en-GB" sz="2000" b="1" dirty="0">
                <a:solidFill>
                  <a:srgbClr val="F95C2C"/>
                </a:solidFill>
                <a:latin typeface="+mj-lt"/>
                <a:ea typeface="League Spartan" charset="0"/>
                <a:cs typeface="Poppins" pitchFamily="2" charset="77"/>
              </a:rPr>
              <a:t>Marketing </a:t>
            </a:r>
          </a:p>
          <a:p>
            <a:pPr algn="ctr"/>
            <a:r>
              <a:rPr lang="en-GB" sz="2000" b="1" dirty="0">
                <a:solidFill>
                  <a:srgbClr val="F95C2C"/>
                </a:solidFill>
                <a:latin typeface="+mj-lt"/>
                <a:ea typeface="League Spartan" charset="0"/>
                <a:cs typeface="Poppins" pitchFamily="2" charset="77"/>
              </a:rPr>
              <a:t>und</a:t>
            </a:r>
            <a:br>
              <a:rPr lang="en-GB" sz="2000" b="1" dirty="0">
                <a:solidFill>
                  <a:srgbClr val="F95C2C"/>
                </a:solidFill>
                <a:latin typeface="+mj-lt"/>
                <a:ea typeface="League Spartan" charset="0"/>
                <a:cs typeface="Poppins" pitchFamily="2" charset="77"/>
              </a:rPr>
            </a:br>
            <a:r>
              <a:rPr lang="en-GB" sz="2000" b="1" dirty="0">
                <a:solidFill>
                  <a:srgbClr val="F95C2C"/>
                </a:solidFill>
                <a:latin typeface="+mj-lt"/>
                <a:ea typeface="League Spartan" charset="0"/>
                <a:cs typeface="Poppins" pitchFamily="2" charset="77"/>
              </a:rPr>
              <a:t>Vertrieb</a:t>
            </a:r>
          </a:p>
        </p:txBody>
      </p:sp>
    </p:spTree>
    <p:extLst>
      <p:ext uri="{BB962C8B-B14F-4D97-AF65-F5344CB8AC3E}">
        <p14:creationId xmlns:p14="http://schemas.microsoft.com/office/powerpoint/2010/main" val="34914759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83BD508-728B-4C8B-9785-A9E72963752E}"/>
              </a:ext>
            </a:extLst>
          </p:cNvPr>
          <p:cNvSpPr>
            <a:spLocks noGrp="1"/>
          </p:cNvSpPr>
          <p:nvPr>
            <p:ph type="body" sz="quarter" idx="11"/>
          </p:nvPr>
        </p:nvSpPr>
        <p:spPr>
          <a:xfrm>
            <a:off x="461755" y="3274356"/>
            <a:ext cx="9821959" cy="1582271"/>
          </a:xfrm>
        </p:spPr>
        <p:txBody>
          <a:bodyPr/>
          <a:lstStyle/>
          <a:p>
            <a:r>
              <a:rPr lang="en-GB" dirty="0"/>
              <a:t>Strategie zur Krisenbewältigung</a:t>
            </a:r>
          </a:p>
          <a:p>
            <a:endParaRPr lang="en-GB" dirty="0"/>
          </a:p>
        </p:txBody>
      </p:sp>
    </p:spTree>
    <p:extLst>
      <p:ext uri="{BB962C8B-B14F-4D97-AF65-F5344CB8AC3E}">
        <p14:creationId xmlns:p14="http://schemas.microsoft.com/office/powerpoint/2010/main" val="40997337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8305" y="528794"/>
            <a:ext cx="8852375" cy="697353"/>
          </a:xfrm>
        </p:spPr>
        <p:txBody>
          <a:bodyPr>
            <a:normAutofit/>
          </a:bodyPr>
          <a:lstStyle/>
          <a:p>
            <a:r>
              <a:rPr lang="en-GB" dirty="0"/>
              <a:t>Strategie zur Krisenbewältigu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07859" y="2019524"/>
            <a:ext cx="4079197" cy="512991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ie strategische Neuausrichtung orientiert sich an dem Leitbild eines profitablen und wettbewerbsfähigen Unternehmens. </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m zu beurteilen, ob das Sanierungsziel erreicht wurde, sind als Kriterien nicht nur die aus dem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ntegrierten</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estrukturierungs-konzept</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bgeleiteten positiven Liquiditäts- und Erfolgsaussichten heranzuziehen. </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as Ziel bei der Bewältigung der strategischen Krise ist es, eine nachhaltige Wettbewerbsfähigkeit und Wettbewerbsvorteile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zu</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erreichen</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
        <p:nvSpPr>
          <p:cNvPr id="23" name="Freeform 43">
            <a:extLst>
              <a:ext uri="{FF2B5EF4-FFF2-40B4-BE49-F238E27FC236}">
                <a16:creationId xmlns:a16="http://schemas.microsoft.com/office/drawing/2014/main" xmlns="" id="{38CEBAD3-01EC-4FB8-8E56-4B6620A121BF}"/>
              </a:ext>
            </a:extLst>
          </p:cNvPr>
          <p:cNvSpPr>
            <a:spLocks/>
          </p:cNvSpPr>
          <p:nvPr/>
        </p:nvSpPr>
        <p:spPr bwMode="auto">
          <a:xfrm>
            <a:off x="4914773" y="3943668"/>
            <a:ext cx="7152809" cy="144984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4" name="Freeform 36">
            <a:extLst>
              <a:ext uri="{FF2B5EF4-FFF2-40B4-BE49-F238E27FC236}">
                <a16:creationId xmlns:a16="http://schemas.microsoft.com/office/drawing/2014/main" xmlns="" id="{06CFC4F6-74A8-4DFE-8F0F-7FCD4D96999A}"/>
              </a:ext>
            </a:extLst>
          </p:cNvPr>
          <p:cNvSpPr>
            <a:spLocks/>
          </p:cNvSpPr>
          <p:nvPr/>
        </p:nvSpPr>
        <p:spPr bwMode="auto">
          <a:xfrm>
            <a:off x="4294051" y="3943668"/>
            <a:ext cx="1494192"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25" name="Freeform 37">
            <a:extLst>
              <a:ext uri="{FF2B5EF4-FFF2-40B4-BE49-F238E27FC236}">
                <a16:creationId xmlns:a16="http://schemas.microsoft.com/office/drawing/2014/main" xmlns="" id="{B0FD7098-F76C-477A-B6DD-A166CAFF8710}"/>
              </a:ext>
            </a:extLst>
          </p:cNvPr>
          <p:cNvSpPr>
            <a:spLocks/>
          </p:cNvSpPr>
          <p:nvPr/>
        </p:nvSpPr>
        <p:spPr bwMode="auto">
          <a:xfrm>
            <a:off x="3893443" y="3551782"/>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27" name="Rectangle 48">
            <a:extLst>
              <a:ext uri="{FF2B5EF4-FFF2-40B4-BE49-F238E27FC236}">
                <a16:creationId xmlns:a16="http://schemas.microsoft.com/office/drawing/2014/main" xmlns="" id="{914D4433-7180-4DE8-9A0F-6C91DC9382F9}"/>
              </a:ext>
            </a:extLst>
          </p:cNvPr>
          <p:cNvSpPr>
            <a:spLocks/>
          </p:cNvSpPr>
          <p:nvPr/>
        </p:nvSpPr>
        <p:spPr bwMode="auto">
          <a:xfrm>
            <a:off x="4187056" y="3908859"/>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2</a:t>
            </a:r>
          </a:p>
        </p:txBody>
      </p:sp>
      <p:sp>
        <p:nvSpPr>
          <p:cNvPr id="28" name="TextBox 49">
            <a:extLst>
              <a:ext uri="{FF2B5EF4-FFF2-40B4-BE49-F238E27FC236}">
                <a16:creationId xmlns:a16="http://schemas.microsoft.com/office/drawing/2014/main" xmlns="" id="{503844B9-581D-43F8-AB66-B6B4644929CE}"/>
              </a:ext>
            </a:extLst>
          </p:cNvPr>
          <p:cNvSpPr txBox="1"/>
          <p:nvPr/>
        </p:nvSpPr>
        <p:spPr>
          <a:xfrm>
            <a:off x="5678710" y="3983287"/>
            <a:ext cx="6222638" cy="1477328"/>
          </a:xfrm>
          <a:prstGeom prst="rect">
            <a:avLst/>
          </a:prstGeom>
          <a:noFill/>
        </p:spPr>
        <p:txBody>
          <a:bodyPr wrap="square" rtlCol="0">
            <a:spAutoFit/>
          </a:bodyPr>
          <a:lstStyle/>
          <a:p>
            <a:r>
              <a:rPr lang="en-GB" dirty="0">
                <a:solidFill>
                  <a:schemeClr val="bg1"/>
                </a:solidFill>
                <a:latin typeface="+mj-lt"/>
                <a:ea typeface="Lato Light" charset="0"/>
                <a:cs typeface="Lato Light" charset="0"/>
              </a:rPr>
              <a:t>Daher ist die Entwicklung </a:t>
            </a:r>
            <a:r>
              <a:rPr lang="en-GB" b="1" dirty="0">
                <a:solidFill>
                  <a:schemeClr val="bg1"/>
                </a:solidFill>
                <a:latin typeface="+mj-lt"/>
                <a:ea typeface="Lato Light" charset="0"/>
                <a:cs typeface="Lato Light" charset="0"/>
              </a:rPr>
              <a:t>geeigneter Produkt-Markt-Strategien </a:t>
            </a:r>
            <a:r>
              <a:rPr lang="en-GB" dirty="0">
                <a:solidFill>
                  <a:schemeClr val="bg1"/>
                </a:solidFill>
                <a:latin typeface="+mj-lt"/>
                <a:ea typeface="Lato Light" charset="0"/>
                <a:cs typeface="Lato Light" charset="0"/>
              </a:rPr>
              <a:t>und </a:t>
            </a:r>
            <a:r>
              <a:rPr lang="en-GB" b="1" dirty="0">
                <a:solidFill>
                  <a:schemeClr val="bg1"/>
                </a:solidFill>
                <a:latin typeface="+mj-lt"/>
                <a:ea typeface="Lato Light" charset="0"/>
                <a:cs typeface="Lato Light" charset="0"/>
              </a:rPr>
              <a:t>Ressourcenstrategien</a:t>
            </a:r>
            <a:r>
              <a:rPr lang="en-GB" dirty="0">
                <a:solidFill>
                  <a:schemeClr val="bg1"/>
                </a:solidFill>
                <a:latin typeface="+mj-lt"/>
                <a:ea typeface="Lato Light" charset="0"/>
                <a:cs typeface="Lato Light" charset="0"/>
              </a:rPr>
              <a:t>, die eigenständig oder durch Allianzen mit Wettbewerbern bzw. durch Fusionen oder Akquisitionen umgesetzt werden, entscheidend, um eine nachhaltig profitable Unternehmensentwicklung zu erreichen</a:t>
            </a:r>
          </a:p>
        </p:txBody>
      </p:sp>
      <p:sp>
        <p:nvSpPr>
          <p:cNvPr id="29" name="Freeform 43">
            <a:extLst>
              <a:ext uri="{FF2B5EF4-FFF2-40B4-BE49-F238E27FC236}">
                <a16:creationId xmlns:a16="http://schemas.microsoft.com/office/drawing/2014/main" xmlns="" id="{0B443420-F081-4BC0-A70C-B3CC8F948189}"/>
              </a:ext>
            </a:extLst>
          </p:cNvPr>
          <p:cNvSpPr>
            <a:spLocks/>
          </p:cNvSpPr>
          <p:nvPr/>
        </p:nvSpPr>
        <p:spPr bwMode="auto">
          <a:xfrm>
            <a:off x="4914773" y="5389011"/>
            <a:ext cx="7152809" cy="123505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0" name="Freeform 36">
            <a:extLst>
              <a:ext uri="{FF2B5EF4-FFF2-40B4-BE49-F238E27FC236}">
                <a16:creationId xmlns:a16="http://schemas.microsoft.com/office/drawing/2014/main" xmlns="" id="{3FD3AE5A-1BE1-4E29-8F6D-90DE7E837AE0}"/>
              </a:ext>
            </a:extLst>
          </p:cNvPr>
          <p:cNvSpPr>
            <a:spLocks/>
          </p:cNvSpPr>
          <p:nvPr/>
        </p:nvSpPr>
        <p:spPr bwMode="auto">
          <a:xfrm>
            <a:off x="4294050" y="5389011"/>
            <a:ext cx="1494193" cy="1235053"/>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1" name="Freeform 37">
            <a:extLst>
              <a:ext uri="{FF2B5EF4-FFF2-40B4-BE49-F238E27FC236}">
                <a16:creationId xmlns:a16="http://schemas.microsoft.com/office/drawing/2014/main" xmlns="" id="{9A2A44DC-0DB5-4668-B47A-C8688596BCBD}"/>
              </a:ext>
            </a:extLst>
          </p:cNvPr>
          <p:cNvSpPr>
            <a:spLocks/>
          </p:cNvSpPr>
          <p:nvPr/>
        </p:nvSpPr>
        <p:spPr bwMode="auto">
          <a:xfrm>
            <a:off x="3893443" y="4782334"/>
            <a:ext cx="2599455"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3" name="Rectangle 59">
            <a:extLst>
              <a:ext uri="{FF2B5EF4-FFF2-40B4-BE49-F238E27FC236}">
                <a16:creationId xmlns:a16="http://schemas.microsoft.com/office/drawing/2014/main" xmlns="" id="{4A26CA74-E445-4E0B-B9FE-840C8E8A4F43}"/>
              </a:ext>
            </a:extLst>
          </p:cNvPr>
          <p:cNvSpPr>
            <a:spLocks/>
          </p:cNvSpPr>
          <p:nvPr/>
        </p:nvSpPr>
        <p:spPr bwMode="auto">
          <a:xfrm>
            <a:off x="4187056" y="5139410"/>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3</a:t>
            </a:r>
          </a:p>
        </p:txBody>
      </p:sp>
      <p:sp>
        <p:nvSpPr>
          <p:cNvPr id="34" name="TextBox 80">
            <a:extLst>
              <a:ext uri="{FF2B5EF4-FFF2-40B4-BE49-F238E27FC236}">
                <a16:creationId xmlns:a16="http://schemas.microsoft.com/office/drawing/2014/main" xmlns="" id="{22AB0BEC-29BD-4F64-B782-0187ABB23EC3}"/>
              </a:ext>
            </a:extLst>
          </p:cNvPr>
          <p:cNvSpPr txBox="1"/>
          <p:nvPr/>
        </p:nvSpPr>
        <p:spPr>
          <a:xfrm>
            <a:off x="5750307" y="5573830"/>
            <a:ext cx="6222638" cy="746358"/>
          </a:xfrm>
          <a:prstGeom prst="rect">
            <a:avLst/>
          </a:prstGeom>
          <a:noFill/>
        </p:spPr>
        <p:txBody>
          <a:bodyPr wrap="square" rtlCol="0">
            <a:spAutoFit/>
          </a:bodyPr>
          <a:lstStyle/>
          <a:p>
            <a:pPr>
              <a:lnSpc>
                <a:spcPts val="1665"/>
              </a:lnSpc>
            </a:pPr>
            <a:r>
              <a:rPr lang="en-GB" dirty="0">
                <a:solidFill>
                  <a:schemeClr val="bg1"/>
                </a:solidFill>
                <a:latin typeface="+mj-lt"/>
                <a:ea typeface="Lato Light" charset="0"/>
                <a:cs typeface="Lato Light" charset="0"/>
              </a:rPr>
              <a:t>Letztlich ist aber immer die Kundenwahrnehmung und die </a:t>
            </a:r>
            <a:r>
              <a:rPr lang="en-GB" b="1" dirty="0">
                <a:solidFill>
                  <a:schemeClr val="bg1"/>
                </a:solidFill>
                <a:latin typeface="+mj-lt"/>
                <a:ea typeface="Lato Light" charset="0"/>
                <a:cs typeface="Lato Light" charset="0"/>
              </a:rPr>
              <a:t>Kundensicht </a:t>
            </a:r>
            <a:r>
              <a:rPr lang="en-GB" dirty="0">
                <a:solidFill>
                  <a:schemeClr val="bg1"/>
                </a:solidFill>
                <a:latin typeface="+mj-lt"/>
                <a:ea typeface="Lato Light" charset="0"/>
                <a:cs typeface="Lato Light" charset="0"/>
              </a:rPr>
              <a:t>entscheidend für den Markterfolg und damit die </a:t>
            </a:r>
            <a:r>
              <a:rPr lang="en-GB" b="1" dirty="0">
                <a:solidFill>
                  <a:schemeClr val="bg1"/>
                </a:solidFill>
                <a:latin typeface="+mj-lt"/>
                <a:ea typeface="Lato Light" charset="0"/>
                <a:cs typeface="Lato Light" charset="0"/>
              </a:rPr>
              <a:t>Wettbewerbsfähigkeit </a:t>
            </a:r>
            <a:r>
              <a:rPr lang="en-GB" dirty="0">
                <a:solidFill>
                  <a:schemeClr val="bg1"/>
                </a:solidFill>
                <a:latin typeface="+mj-lt"/>
                <a:ea typeface="Lato Light" charset="0"/>
                <a:cs typeface="Lato Light" charset="0"/>
              </a:rPr>
              <a:t>des Unternehmens</a:t>
            </a:r>
          </a:p>
        </p:txBody>
      </p:sp>
      <p:sp>
        <p:nvSpPr>
          <p:cNvPr id="35" name="Freeform 43">
            <a:extLst>
              <a:ext uri="{FF2B5EF4-FFF2-40B4-BE49-F238E27FC236}">
                <a16:creationId xmlns:a16="http://schemas.microsoft.com/office/drawing/2014/main" xmlns="" id="{1AE2E2D8-7FFA-4C5F-BCB6-396B14434D86}"/>
              </a:ext>
            </a:extLst>
          </p:cNvPr>
          <p:cNvSpPr>
            <a:spLocks/>
          </p:cNvSpPr>
          <p:nvPr/>
        </p:nvSpPr>
        <p:spPr bwMode="auto">
          <a:xfrm>
            <a:off x="4914773" y="2717879"/>
            <a:ext cx="7152809" cy="133577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6" name="Freeform 36">
            <a:extLst>
              <a:ext uri="{FF2B5EF4-FFF2-40B4-BE49-F238E27FC236}">
                <a16:creationId xmlns:a16="http://schemas.microsoft.com/office/drawing/2014/main" xmlns="" id="{11CD41B8-E7A0-4BC7-889B-A2AEA92A3D10}"/>
              </a:ext>
            </a:extLst>
          </p:cNvPr>
          <p:cNvSpPr>
            <a:spLocks/>
          </p:cNvSpPr>
          <p:nvPr/>
        </p:nvSpPr>
        <p:spPr bwMode="auto">
          <a:xfrm>
            <a:off x="4294052" y="2717879"/>
            <a:ext cx="1550445" cy="131176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Roboto Bold" charset="0"/>
            </a:endParaRPr>
          </a:p>
        </p:txBody>
      </p:sp>
      <p:sp>
        <p:nvSpPr>
          <p:cNvPr id="37" name="Freeform 37">
            <a:extLst>
              <a:ext uri="{FF2B5EF4-FFF2-40B4-BE49-F238E27FC236}">
                <a16:creationId xmlns:a16="http://schemas.microsoft.com/office/drawing/2014/main" xmlns="" id="{6C69C51B-A138-4ECD-B041-3B9DF3EB887E}"/>
              </a:ext>
            </a:extLst>
          </p:cNvPr>
          <p:cNvSpPr>
            <a:spLocks/>
          </p:cNvSpPr>
          <p:nvPr/>
        </p:nvSpPr>
        <p:spPr bwMode="auto">
          <a:xfrm>
            <a:off x="4159375" y="2306458"/>
            <a:ext cx="2333523" cy="144984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600" b="1" dirty="0">
              <a:latin typeface="Roboto Bold" charset="0"/>
            </a:endParaRPr>
          </a:p>
        </p:txBody>
      </p:sp>
      <p:sp>
        <p:nvSpPr>
          <p:cNvPr id="39" name="Rectangle 85">
            <a:extLst>
              <a:ext uri="{FF2B5EF4-FFF2-40B4-BE49-F238E27FC236}">
                <a16:creationId xmlns:a16="http://schemas.microsoft.com/office/drawing/2014/main" xmlns="" id="{2A1552D3-2090-4A15-BD98-8D3B0C1215D9}"/>
              </a:ext>
            </a:extLst>
          </p:cNvPr>
          <p:cNvSpPr>
            <a:spLocks/>
          </p:cNvSpPr>
          <p:nvPr/>
        </p:nvSpPr>
        <p:spPr bwMode="auto">
          <a:xfrm>
            <a:off x="4187056" y="2663535"/>
            <a:ext cx="96977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200" b="1" spc="113" dirty="0">
                <a:solidFill>
                  <a:schemeClr val="bg1"/>
                </a:solidFill>
                <a:latin typeface="+mj-lt"/>
                <a:ea typeface="Roboto" charset="0"/>
                <a:cs typeface="Roboto" charset="0"/>
                <a:sym typeface="Bebas Neue" charset="0"/>
              </a:rPr>
              <a:t>01</a:t>
            </a:r>
            <a:endParaRPr lang="en-GB" sz="1600" b="1" spc="113" dirty="0">
              <a:solidFill>
                <a:schemeClr val="bg1"/>
              </a:solidFill>
              <a:latin typeface="+mj-lt"/>
              <a:ea typeface="Roboto" charset="0"/>
              <a:cs typeface="Roboto" charset="0"/>
              <a:sym typeface="Bebas Neue" charset="0"/>
            </a:endParaRPr>
          </a:p>
        </p:txBody>
      </p:sp>
      <p:sp>
        <p:nvSpPr>
          <p:cNvPr id="40" name="TextBox 86">
            <a:extLst>
              <a:ext uri="{FF2B5EF4-FFF2-40B4-BE49-F238E27FC236}">
                <a16:creationId xmlns:a16="http://schemas.microsoft.com/office/drawing/2014/main" xmlns="" id="{27A142E1-D7BF-483C-98D0-BCD3911C3078}"/>
              </a:ext>
            </a:extLst>
          </p:cNvPr>
          <p:cNvSpPr txBox="1"/>
          <p:nvPr/>
        </p:nvSpPr>
        <p:spPr>
          <a:xfrm>
            <a:off x="5755346" y="2784505"/>
            <a:ext cx="6250438" cy="923330"/>
          </a:xfrm>
          <a:prstGeom prst="rect">
            <a:avLst/>
          </a:prstGeom>
          <a:noFill/>
        </p:spPr>
        <p:txBody>
          <a:bodyPr wrap="square" rtlCol="0">
            <a:spAutoFit/>
          </a:bodyPr>
          <a:lstStyle/>
          <a:p>
            <a:r>
              <a:rPr lang="en-GB" dirty="0">
                <a:solidFill>
                  <a:schemeClr val="bg1"/>
                </a:solidFill>
                <a:latin typeface="+mj-lt"/>
                <a:ea typeface="Lato Light" charset="0"/>
                <a:cs typeface="Lato Light" charset="0"/>
              </a:rPr>
              <a:t>Das Unternehmen muss </a:t>
            </a:r>
            <a:r>
              <a:rPr lang="en-GB" b="1" dirty="0">
                <a:solidFill>
                  <a:schemeClr val="bg1"/>
                </a:solidFill>
                <a:latin typeface="+mj-lt"/>
                <a:ea typeface="Lato Light" charset="0"/>
                <a:cs typeface="Lato Light" charset="0"/>
              </a:rPr>
              <a:t>seine Marktaktivitäten und Ressourcen optimal und stringent koordinieren </a:t>
            </a:r>
            <a:r>
              <a:rPr lang="en-GB" dirty="0">
                <a:solidFill>
                  <a:schemeClr val="bg1"/>
                </a:solidFill>
                <a:latin typeface="+mj-lt"/>
                <a:ea typeface="Lato Light" charset="0"/>
                <a:cs typeface="Lato Light" charset="0"/>
              </a:rPr>
              <a:t>und dabei die </a:t>
            </a:r>
            <a:r>
              <a:rPr lang="en-GB" b="1" dirty="0">
                <a:solidFill>
                  <a:schemeClr val="bg1"/>
                </a:solidFill>
                <a:latin typeface="+mj-lt"/>
                <a:ea typeface="Lato Light" charset="0"/>
                <a:cs typeface="Lato Light" charset="0"/>
              </a:rPr>
              <a:t>Kundenbedürfnisse </a:t>
            </a:r>
            <a:r>
              <a:rPr lang="en-GB" dirty="0">
                <a:solidFill>
                  <a:schemeClr val="bg1"/>
                </a:solidFill>
                <a:latin typeface="+mj-lt"/>
                <a:ea typeface="Lato Light" charset="0"/>
                <a:cs typeface="Lato Light" charset="0"/>
              </a:rPr>
              <a:t>und die </a:t>
            </a:r>
            <a:r>
              <a:rPr lang="en-GB" b="1" dirty="0">
                <a:solidFill>
                  <a:schemeClr val="bg1"/>
                </a:solidFill>
                <a:latin typeface="+mj-lt"/>
                <a:ea typeface="Lato Light" charset="0"/>
                <a:cs typeface="Lato Light" charset="0"/>
              </a:rPr>
              <a:t>Abläufe des Wettbewerbs berücksichtigen</a:t>
            </a:r>
          </a:p>
        </p:txBody>
      </p:sp>
      <p:sp>
        <p:nvSpPr>
          <p:cNvPr id="21" name="TextBox 20">
            <a:extLst>
              <a:ext uri="{FF2B5EF4-FFF2-40B4-BE49-F238E27FC236}">
                <a16:creationId xmlns:a16="http://schemas.microsoft.com/office/drawing/2014/main" xmlns="" id="{FB2C59BD-40AD-44C5-B603-2F5D84367231}"/>
              </a:ext>
            </a:extLst>
          </p:cNvPr>
          <p:cNvSpPr txBox="1"/>
          <p:nvPr/>
        </p:nvSpPr>
        <p:spPr>
          <a:xfrm>
            <a:off x="4325314" y="1732919"/>
            <a:ext cx="7866686" cy="1015663"/>
          </a:xfrm>
          <a:prstGeom prst="rect">
            <a:avLst/>
          </a:prstGeom>
          <a:noFill/>
        </p:spPr>
        <p:txBody>
          <a:bodyPr wrap="square">
            <a:spAutoFit/>
          </a:body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se Kriterien sind Indikatoren für die Frage, ob das Unternehmen seine Marktposition verteidigen oder ausbauen kann, um Umsatzwachstum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zu</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0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generieren</a:t>
            </a:r>
            <a:r>
              <a:rPr lang="en-GB" sz="20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a:t>
            </a:r>
            <a:endParaRPr lang="en-GB" sz="2000" dirty="0">
              <a:solidFill>
                <a:srgbClr val="245473"/>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095727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9759932" cy="1582271"/>
          </a:xfrm>
        </p:spPr>
        <p:txBody>
          <a:bodyPr/>
          <a:lstStyle/>
          <a:p>
            <a:r>
              <a:rPr lang="en-GB" dirty="0"/>
              <a:t>Strategische Optionen in den </a:t>
            </a:r>
            <a:r>
              <a:rPr lang="en-GB" dirty="0" err="1"/>
              <a:t>Krisenphasen</a:t>
            </a:r>
            <a:endParaRPr lang="en-GB" dirty="0"/>
          </a:p>
        </p:txBody>
      </p:sp>
    </p:spTree>
    <p:extLst>
      <p:ext uri="{BB962C8B-B14F-4D97-AF65-F5344CB8AC3E}">
        <p14:creationId xmlns:p14="http://schemas.microsoft.com/office/powerpoint/2010/main" val="20856501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61606" y="1840759"/>
            <a:ext cx="3537025" cy="465285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Der Fokus der strategischen Neuausrichtung liegt auf der Geschäftsfeldplanung und Ressourcenumschichtung sowie auf der Formulierung der Unternehmensstrategie. Es muss festgelegt werden, wie die im Unternehmensleitbild definierten Ziele mittel- bis langfristig erreicht werden sollen.</a:t>
            </a:r>
          </a:p>
          <a:p>
            <a:pPr algn="l">
              <a:lnSpc>
                <a:spcPct val="100000"/>
              </a:lnSpc>
              <a:spcBef>
                <a:spcPts val="600"/>
              </a:spcBef>
            </a:pPr>
            <a:r>
              <a:rPr lang="en-GB" sz="1800" b="1"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Im Rahmen der strategischen Neuausrichtung muss das Unternehmen seine Potenziale unter den Aspekten Effektivität, Nachhaltigkeit und Kohärenz ausrichten. Beginnen Sie mit diesen drei Bereichen...</a:t>
            </a:r>
            <a:endParaRPr lang="en-GB" sz="1800" b="1"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5" name="Gruppieren 4">
            <a:extLst>
              <a:ext uri="{FF2B5EF4-FFF2-40B4-BE49-F238E27FC236}">
                <a16:creationId xmlns:a16="http://schemas.microsoft.com/office/drawing/2014/main" xmlns="" id="{37CB6D36-4C3D-45A7-A36D-042A32271E56}"/>
              </a:ext>
            </a:extLst>
          </p:cNvPr>
          <p:cNvGrpSpPr>
            <a:grpSpLocks noChangeAspect="1"/>
          </p:cNvGrpSpPr>
          <p:nvPr/>
        </p:nvGrpSpPr>
        <p:grpSpPr>
          <a:xfrm>
            <a:off x="8785347" y="2478070"/>
            <a:ext cx="3276000" cy="3276000"/>
            <a:chOff x="7510917" y="2077854"/>
            <a:chExt cx="3869722" cy="3869722"/>
          </a:xfrm>
        </p:grpSpPr>
        <p:sp>
          <p:nvSpPr>
            <p:cNvPr id="51" name="Oval 3">
              <a:extLst>
                <a:ext uri="{FF2B5EF4-FFF2-40B4-BE49-F238E27FC236}">
                  <a16:creationId xmlns:a16="http://schemas.microsoft.com/office/drawing/2014/main" xmlns="" id="{CE2A394E-11AC-40C7-A5B8-58D40AA95EE1}"/>
                </a:ext>
              </a:extLst>
            </p:cNvPr>
            <p:cNvSpPr/>
            <p:nvPr/>
          </p:nvSpPr>
          <p:spPr>
            <a:xfrm>
              <a:off x="7510917" y="2077854"/>
              <a:ext cx="3869722" cy="386972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2" name="Pie 8">
              <a:extLst>
                <a:ext uri="{FF2B5EF4-FFF2-40B4-BE49-F238E27FC236}">
                  <a16:creationId xmlns:a16="http://schemas.microsoft.com/office/drawing/2014/main" xmlns="" id="{E897233F-B7E1-4D89-B283-3CEBA2F2C365}"/>
                </a:ext>
              </a:extLst>
            </p:cNvPr>
            <p:cNvSpPr/>
            <p:nvPr/>
          </p:nvSpPr>
          <p:spPr>
            <a:xfrm>
              <a:off x="7510917" y="2077854"/>
              <a:ext cx="3869722" cy="3869722"/>
            </a:xfrm>
            <a:prstGeom prst="pie">
              <a:avLst>
                <a:gd name="adj1" fmla="val 16203509"/>
                <a:gd name="adj2" fmla="val 167963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3" name="Oval 4">
              <a:extLst>
                <a:ext uri="{FF2B5EF4-FFF2-40B4-BE49-F238E27FC236}">
                  <a16:creationId xmlns:a16="http://schemas.microsoft.com/office/drawing/2014/main" xmlns="" id="{CDD3F251-BAAB-4075-BEBF-52C9118F11DE}"/>
                </a:ext>
              </a:extLst>
            </p:cNvPr>
            <p:cNvSpPr/>
            <p:nvPr/>
          </p:nvSpPr>
          <p:spPr>
            <a:xfrm>
              <a:off x="7770371" y="2337308"/>
              <a:ext cx="3350814" cy="335081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4" name="Pie 9">
              <a:extLst>
                <a:ext uri="{FF2B5EF4-FFF2-40B4-BE49-F238E27FC236}">
                  <a16:creationId xmlns:a16="http://schemas.microsoft.com/office/drawing/2014/main" xmlns="" id="{9A2AC663-974E-43EF-905D-63060FBA2081}"/>
                </a:ext>
              </a:extLst>
            </p:cNvPr>
            <p:cNvSpPr/>
            <p:nvPr/>
          </p:nvSpPr>
          <p:spPr>
            <a:xfrm>
              <a:off x="7770371" y="2337308"/>
              <a:ext cx="3350814" cy="3350814"/>
            </a:xfrm>
            <a:prstGeom prst="pie">
              <a:avLst>
                <a:gd name="adj1" fmla="val 16200764"/>
                <a:gd name="adj2" fmla="val 872139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5" name="Oval 5">
              <a:extLst>
                <a:ext uri="{FF2B5EF4-FFF2-40B4-BE49-F238E27FC236}">
                  <a16:creationId xmlns:a16="http://schemas.microsoft.com/office/drawing/2014/main" xmlns="" id="{84FD8D44-159D-4FC8-9FAE-BBDF2F6EFECE}"/>
                </a:ext>
              </a:extLst>
            </p:cNvPr>
            <p:cNvSpPr/>
            <p:nvPr/>
          </p:nvSpPr>
          <p:spPr>
            <a:xfrm>
              <a:off x="8038275" y="2605212"/>
              <a:ext cx="2815006" cy="2815006"/>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6" name="Pie 10">
              <a:extLst>
                <a:ext uri="{FF2B5EF4-FFF2-40B4-BE49-F238E27FC236}">
                  <a16:creationId xmlns:a16="http://schemas.microsoft.com/office/drawing/2014/main" xmlns="" id="{0CFC9224-9892-40FB-8C5B-38B680FB5C13}"/>
                </a:ext>
              </a:extLst>
            </p:cNvPr>
            <p:cNvSpPr/>
            <p:nvPr/>
          </p:nvSpPr>
          <p:spPr>
            <a:xfrm>
              <a:off x="8038275" y="2605212"/>
              <a:ext cx="2815006" cy="2815006"/>
            </a:xfrm>
            <a:prstGeom prst="pie">
              <a:avLst>
                <a:gd name="adj1" fmla="val 16205589"/>
                <a:gd name="adj2" fmla="val 1308947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7" name="Oval 6">
              <a:extLst>
                <a:ext uri="{FF2B5EF4-FFF2-40B4-BE49-F238E27FC236}">
                  <a16:creationId xmlns:a16="http://schemas.microsoft.com/office/drawing/2014/main" xmlns="" id="{AAF98D97-DC49-4791-8B0C-D0A54B3E5D75}"/>
                </a:ext>
              </a:extLst>
            </p:cNvPr>
            <p:cNvSpPr/>
            <p:nvPr/>
          </p:nvSpPr>
          <p:spPr>
            <a:xfrm>
              <a:off x="8318350" y="2885287"/>
              <a:ext cx="2254857" cy="2254857"/>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8" name="Pie 11">
              <a:extLst>
                <a:ext uri="{FF2B5EF4-FFF2-40B4-BE49-F238E27FC236}">
                  <a16:creationId xmlns:a16="http://schemas.microsoft.com/office/drawing/2014/main" xmlns="" id="{AF57F6F3-DEA0-4F1E-A985-4C189267102B}"/>
                </a:ext>
              </a:extLst>
            </p:cNvPr>
            <p:cNvSpPr/>
            <p:nvPr/>
          </p:nvSpPr>
          <p:spPr>
            <a:xfrm>
              <a:off x="8318350" y="2885287"/>
              <a:ext cx="2254857" cy="2254857"/>
            </a:xfrm>
            <a:prstGeom prst="pie">
              <a:avLst>
                <a:gd name="adj1" fmla="val 16201900"/>
                <a:gd name="adj2" fmla="val 47957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59" name="Oval 7">
              <a:extLst>
                <a:ext uri="{FF2B5EF4-FFF2-40B4-BE49-F238E27FC236}">
                  <a16:creationId xmlns:a16="http://schemas.microsoft.com/office/drawing/2014/main" xmlns="" id="{BB2CD242-BE6B-43B9-8D85-FF0731F7FD60}"/>
                </a:ext>
              </a:extLst>
            </p:cNvPr>
            <p:cNvSpPr/>
            <p:nvPr/>
          </p:nvSpPr>
          <p:spPr>
            <a:xfrm>
              <a:off x="8568055" y="3134992"/>
              <a:ext cx="1755449" cy="1755449"/>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0" name="Pie 12">
              <a:extLst>
                <a:ext uri="{FF2B5EF4-FFF2-40B4-BE49-F238E27FC236}">
                  <a16:creationId xmlns:a16="http://schemas.microsoft.com/office/drawing/2014/main" xmlns="" id="{B495B48A-3B59-4788-A6F7-F2090E26F859}"/>
                </a:ext>
              </a:extLst>
            </p:cNvPr>
            <p:cNvSpPr/>
            <p:nvPr/>
          </p:nvSpPr>
          <p:spPr>
            <a:xfrm>
              <a:off x="8568055" y="3134992"/>
              <a:ext cx="1755449" cy="1755449"/>
            </a:xfrm>
            <a:prstGeom prst="pie">
              <a:avLst>
                <a:gd name="adj1" fmla="val 16194857"/>
                <a:gd name="adj2" fmla="val 6549353"/>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61" name="Oval 14">
              <a:extLst>
                <a:ext uri="{FF2B5EF4-FFF2-40B4-BE49-F238E27FC236}">
                  <a16:creationId xmlns:a16="http://schemas.microsoft.com/office/drawing/2014/main" xmlns="" id="{2C62071C-B80B-4EF8-AB20-C060FF4E1EE0}"/>
                </a:ext>
              </a:extLst>
            </p:cNvPr>
            <p:cNvSpPr/>
            <p:nvPr/>
          </p:nvSpPr>
          <p:spPr>
            <a:xfrm>
              <a:off x="8856872" y="3423809"/>
              <a:ext cx="1177815" cy="117781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grpSp>
      <p:sp>
        <p:nvSpPr>
          <p:cNvPr id="63" name="TextBox 19">
            <a:extLst>
              <a:ext uri="{FF2B5EF4-FFF2-40B4-BE49-F238E27FC236}">
                <a16:creationId xmlns:a16="http://schemas.microsoft.com/office/drawing/2014/main" xmlns="" id="{090A32C1-11C9-4E5B-8E18-7B19ECEEF201}"/>
              </a:ext>
            </a:extLst>
          </p:cNvPr>
          <p:cNvSpPr txBox="1"/>
          <p:nvPr/>
        </p:nvSpPr>
        <p:spPr>
          <a:xfrm>
            <a:off x="3855003" y="1789619"/>
            <a:ext cx="4438391" cy="384721"/>
          </a:xfrm>
          <a:prstGeom prst="rect">
            <a:avLst/>
          </a:prstGeom>
          <a:noFill/>
        </p:spPr>
        <p:txBody>
          <a:bodyPr wrap="square" lIns="91440" tIns="45720" rIns="91440" bIns="45720" rtlCol="0" anchor="b" anchorCtr="0">
            <a:spAutoFit/>
          </a:bodyPr>
          <a:lstStyle/>
          <a:p>
            <a:r>
              <a:rPr lang="en-GB" sz="1900" b="1" dirty="0">
                <a:solidFill>
                  <a:srgbClr val="F95C2C"/>
                </a:solidFill>
                <a:latin typeface="+mj-lt"/>
                <a:ea typeface="League Spartan" charset="0"/>
                <a:cs typeface="Poppins" pitchFamily="2" charset="77"/>
              </a:rPr>
              <a:t>Stärkung des Kerngeschäfts</a:t>
            </a:r>
          </a:p>
        </p:txBody>
      </p:sp>
      <p:sp>
        <p:nvSpPr>
          <p:cNvPr id="64" name="Subtitle 2">
            <a:extLst>
              <a:ext uri="{FF2B5EF4-FFF2-40B4-BE49-F238E27FC236}">
                <a16:creationId xmlns:a16="http://schemas.microsoft.com/office/drawing/2014/main" xmlns="" id="{DF9B471D-2D31-4257-87A0-9702833E1C64}"/>
              </a:ext>
            </a:extLst>
          </p:cNvPr>
          <p:cNvSpPr txBox="1">
            <a:spLocks/>
          </p:cNvSpPr>
          <p:nvPr/>
        </p:nvSpPr>
        <p:spPr>
          <a:xfrm>
            <a:off x="3966595" y="2127707"/>
            <a:ext cx="5443683"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Gezielte Profilierung der Marke bzw. des Produktes | Definition des Markensegments bzw. der Nischenbelegung | Profilierung durch Identifikation und Ausbau von Stärken und Beseitigung von Schwächen</a:t>
            </a:r>
          </a:p>
        </p:txBody>
      </p:sp>
      <p:sp>
        <p:nvSpPr>
          <p:cNvPr id="66" name="TextBox 26">
            <a:extLst>
              <a:ext uri="{FF2B5EF4-FFF2-40B4-BE49-F238E27FC236}">
                <a16:creationId xmlns:a16="http://schemas.microsoft.com/office/drawing/2014/main" xmlns="" id="{6A9CA847-1C3D-45E5-9C4F-D5433FA6AEF5}"/>
              </a:ext>
            </a:extLst>
          </p:cNvPr>
          <p:cNvSpPr txBox="1"/>
          <p:nvPr/>
        </p:nvSpPr>
        <p:spPr>
          <a:xfrm>
            <a:off x="3879212" y="3306560"/>
            <a:ext cx="3064071" cy="369332"/>
          </a:xfrm>
          <a:prstGeom prst="rect">
            <a:avLst/>
          </a:prstGeom>
          <a:noFill/>
        </p:spPr>
        <p:txBody>
          <a:bodyPr wrap="square" rtlCol="0" anchor="b" anchorCtr="0">
            <a:spAutoFit/>
          </a:bodyPr>
          <a:lstStyle/>
          <a:p>
            <a:r>
              <a:rPr lang="en-GB" b="1" dirty="0">
                <a:solidFill>
                  <a:srgbClr val="E53292"/>
                </a:solidFill>
                <a:latin typeface="+mj-lt"/>
                <a:ea typeface="League Spartan" charset="0"/>
                <a:cs typeface="Poppins" pitchFamily="2" charset="77"/>
              </a:rPr>
              <a:t>Ausbau des Kerngeschäfts</a:t>
            </a:r>
          </a:p>
        </p:txBody>
      </p:sp>
      <p:sp>
        <p:nvSpPr>
          <p:cNvPr id="67" name="Subtitle 2">
            <a:extLst>
              <a:ext uri="{FF2B5EF4-FFF2-40B4-BE49-F238E27FC236}">
                <a16:creationId xmlns:a16="http://schemas.microsoft.com/office/drawing/2014/main" xmlns="" id="{DF46AECD-160B-43F4-BBF2-A6B450C361AB}"/>
              </a:ext>
            </a:extLst>
          </p:cNvPr>
          <p:cNvSpPr txBox="1">
            <a:spLocks/>
          </p:cNvSpPr>
          <p:nvPr/>
        </p:nvSpPr>
        <p:spPr>
          <a:xfrm>
            <a:off x="3936512" y="3661979"/>
            <a:ext cx="4622035"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Komplementäre Produkte und Dienstleistungen anbieten | </a:t>
            </a:r>
            <a:r>
              <a:rPr lang="en-GB" sz="1800" dirty="0" err="1">
                <a:solidFill>
                  <a:srgbClr val="245473"/>
                </a:solidFill>
                <a:latin typeface="+mj-lt"/>
                <a:ea typeface="Lato Light" panose="020F0502020204030203" pitchFamily="34" charset="0"/>
                <a:cs typeface="Mukta ExtraLight" panose="020B0000000000000000" pitchFamily="34" charset="77"/>
              </a:rPr>
              <a:t>Integrierte</a:t>
            </a:r>
            <a:r>
              <a:rPr lang="en-GB" sz="1800" dirty="0">
                <a:solidFill>
                  <a:srgbClr val="245473"/>
                </a:solidFill>
                <a:latin typeface="+mj-lt"/>
                <a:ea typeface="Lato Light" panose="020F0502020204030203" pitchFamily="34" charset="0"/>
                <a:cs typeface="Mukta ExtraLight" panose="020B0000000000000000" pitchFamily="34" charset="77"/>
              </a:rPr>
              <a:t> Lösungen über die bisherigen Leistungen hinaus anbieten </a:t>
            </a:r>
            <a:br>
              <a:rPr lang="en-GB" sz="1800" dirty="0">
                <a:solidFill>
                  <a:srgbClr val="245473"/>
                </a:solidFill>
                <a:latin typeface="+mj-lt"/>
                <a:ea typeface="Lato Light" panose="020F0502020204030203" pitchFamily="34" charset="0"/>
                <a:cs typeface="Mukta ExtraLight" panose="020B0000000000000000" pitchFamily="34" charset="77"/>
              </a:rPr>
            </a:b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69" name="TextBox 31">
            <a:extLst>
              <a:ext uri="{FF2B5EF4-FFF2-40B4-BE49-F238E27FC236}">
                <a16:creationId xmlns:a16="http://schemas.microsoft.com/office/drawing/2014/main" xmlns="" id="{E38030BA-FEEE-4C86-85F0-81F39C8E24D7}"/>
              </a:ext>
            </a:extLst>
          </p:cNvPr>
          <p:cNvSpPr txBox="1"/>
          <p:nvPr/>
        </p:nvSpPr>
        <p:spPr>
          <a:xfrm>
            <a:off x="3855003" y="4493410"/>
            <a:ext cx="5229517" cy="646331"/>
          </a:xfrm>
          <a:prstGeom prst="rect">
            <a:avLst/>
          </a:prstGeom>
          <a:noFill/>
        </p:spPr>
        <p:txBody>
          <a:bodyPr wrap="square" lIns="91440" tIns="45720" rIns="91440" bIns="45720" rtlCol="0" anchor="b" anchorCtr="0">
            <a:spAutoFit/>
          </a:bodyPr>
          <a:lstStyle/>
          <a:p>
            <a:r>
              <a:rPr lang="en-GB" b="1" dirty="0">
                <a:solidFill>
                  <a:srgbClr val="245473"/>
                </a:solidFill>
                <a:latin typeface="+mj-lt"/>
                <a:ea typeface="League Spartan" charset="0"/>
                <a:cs typeface="Poppins" pitchFamily="2" charset="77"/>
              </a:rPr>
              <a:t>Weitere Optionen für die strategischen </a:t>
            </a:r>
            <a:r>
              <a:rPr lang="en-GB" b="1" dirty="0" err="1">
                <a:solidFill>
                  <a:srgbClr val="245473"/>
                </a:solidFill>
                <a:latin typeface="+mj-lt"/>
                <a:ea typeface="League Spartan" charset="0"/>
                <a:cs typeface="Poppins" pitchFamily="2" charset="77"/>
              </a:rPr>
              <a:t>Planungsmaßnahmen</a:t>
            </a:r>
            <a:r>
              <a:rPr lang="en-GB" b="1" dirty="0">
                <a:solidFill>
                  <a:srgbClr val="245473"/>
                </a:solidFill>
                <a:latin typeface="+mj-lt"/>
                <a:ea typeface="League Spartan" charset="0"/>
                <a:cs typeface="Poppins" pitchFamily="2" charset="77"/>
              </a:rPr>
              <a:t> </a:t>
            </a:r>
            <a:r>
              <a:rPr lang="en-GB" b="1" dirty="0" err="1">
                <a:solidFill>
                  <a:srgbClr val="245473"/>
                </a:solidFill>
                <a:latin typeface="+mj-lt"/>
                <a:ea typeface="League Spartan" charset="0"/>
                <a:cs typeface="Poppins" pitchFamily="2" charset="77"/>
              </a:rPr>
              <a:t>sind</a:t>
            </a:r>
            <a:r>
              <a:rPr lang="en-GB" b="1" dirty="0">
                <a:solidFill>
                  <a:srgbClr val="245473"/>
                </a:solidFill>
                <a:latin typeface="+mj-lt"/>
                <a:ea typeface="League Spartan" charset="0"/>
                <a:cs typeface="Poppins" pitchFamily="2" charset="77"/>
              </a:rPr>
              <a:t> zu definieren</a:t>
            </a:r>
          </a:p>
        </p:txBody>
      </p:sp>
      <p:sp>
        <p:nvSpPr>
          <p:cNvPr id="70" name="Subtitle 2">
            <a:extLst>
              <a:ext uri="{FF2B5EF4-FFF2-40B4-BE49-F238E27FC236}">
                <a16:creationId xmlns:a16="http://schemas.microsoft.com/office/drawing/2014/main" xmlns="" id="{89C24A82-1F5E-4E90-8368-81AE7A79BCA4}"/>
              </a:ext>
            </a:extLst>
          </p:cNvPr>
          <p:cNvSpPr txBox="1">
            <a:spLocks/>
          </p:cNvSpPr>
          <p:nvPr/>
        </p:nvSpPr>
        <p:spPr>
          <a:xfrm>
            <a:off x="3879212" y="5164507"/>
            <a:ext cx="5010788" cy="17520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Übertragung bestehender Produkte, Marken, Ressourcen, Fähigkeiten und Kompetenzen auf </a:t>
            </a:r>
            <a:r>
              <a:rPr lang="en-GB" sz="1800" dirty="0" err="1">
                <a:solidFill>
                  <a:srgbClr val="245473"/>
                </a:solidFill>
                <a:latin typeface="+mj-lt"/>
                <a:ea typeface="Lato Light" panose="020F0502020204030203" pitchFamily="34" charset="0"/>
                <a:cs typeface="Mukta ExtraLight" panose="020B0000000000000000" pitchFamily="34" charset="77"/>
              </a:rPr>
              <a:t>neue</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Anwendungsgebiete</a:t>
            </a:r>
            <a:r>
              <a:rPr lang="en-GB" sz="1800" dirty="0">
                <a:solidFill>
                  <a:srgbClr val="245473"/>
                </a:solidFill>
                <a:latin typeface="+mj-lt"/>
                <a:ea typeface="Lato Light" panose="020F0502020204030203" pitchFamily="34" charset="0"/>
                <a:cs typeface="Mukta ExtraLight" panose="020B0000000000000000" pitchFamily="34" charset="77"/>
              </a:rPr>
              <a:t> | </a:t>
            </a:r>
            <a:r>
              <a:rPr lang="de-DE" sz="1800" dirty="0">
                <a:solidFill>
                  <a:srgbClr val="245473"/>
                </a:solidFill>
                <a:latin typeface="+mj-lt"/>
                <a:ea typeface="Lato Light" panose="020F0502020204030203" pitchFamily="34" charset="0"/>
                <a:cs typeface="Mukta ExtraLight" panose="020B0000000000000000" pitchFamily="34" charset="77"/>
              </a:rPr>
              <a:t>Erschließung neuer Erfolgspotenziale: Produkt- &amp; Prozessinnovationen | Entwicklung von Kernkompetenzen</a:t>
            </a:r>
            <a:endParaRPr lang="en-GB" sz="1800" dirty="0">
              <a:solidFill>
                <a:srgbClr val="245473"/>
              </a:solidFill>
              <a:latin typeface="+mj-lt"/>
              <a:ea typeface="Lato Light" panose="020F0502020204030203" pitchFamily="34" charset="0"/>
              <a:cs typeface="Mukta ExtraLight" panose="020B0000000000000000" pitchFamily="34" charset="77"/>
            </a:endParaRPr>
          </a:p>
          <a:p>
            <a:pPr algn="l">
              <a:lnSpc>
                <a:spcPct val="100000"/>
              </a:lnSpc>
            </a:pP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25" name="Textplatzhalter 1">
            <a:extLst>
              <a:ext uri="{FF2B5EF4-FFF2-40B4-BE49-F238E27FC236}">
                <a16:creationId xmlns:a16="http://schemas.microsoft.com/office/drawing/2014/main" xmlns="" id="{FE0974E0-696B-443A-B3BC-9662266C59E9}"/>
              </a:ext>
            </a:extLst>
          </p:cNvPr>
          <p:cNvSpPr>
            <a:spLocks noGrp="1"/>
          </p:cNvSpPr>
          <p:nvPr>
            <p:ph type="body" sz="quarter" idx="13"/>
          </p:nvPr>
        </p:nvSpPr>
        <p:spPr>
          <a:xfrm>
            <a:off x="1528305" y="528794"/>
            <a:ext cx="8852375" cy="697353"/>
          </a:xfrm>
        </p:spPr>
        <p:txBody>
          <a:bodyPr>
            <a:normAutofit/>
          </a:bodyPr>
          <a:lstStyle/>
          <a:p>
            <a:r>
              <a:rPr lang="en-GB" dirty="0"/>
              <a:t>Strategie </a:t>
            </a:r>
            <a:r>
              <a:rPr lang="en-GB" dirty="0" err="1"/>
              <a:t>zur</a:t>
            </a:r>
            <a:r>
              <a:rPr lang="en-GB" dirty="0"/>
              <a:t> </a:t>
            </a:r>
            <a:r>
              <a:rPr lang="en-GB" dirty="0" err="1"/>
              <a:t>Krisenbewältigung</a:t>
            </a:r>
            <a:r>
              <a:rPr lang="en-GB" dirty="0"/>
              <a:t> (Forts.)</a:t>
            </a:r>
          </a:p>
        </p:txBody>
      </p:sp>
    </p:spTree>
    <p:extLst>
      <p:ext uri="{BB962C8B-B14F-4D97-AF65-F5344CB8AC3E}">
        <p14:creationId xmlns:p14="http://schemas.microsoft.com/office/powerpoint/2010/main" val="37309062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26809" y="1728863"/>
            <a:ext cx="3858487" cy="509913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700" dirty="0">
                <a:solidFill>
                  <a:srgbClr val="245473"/>
                </a:solidFill>
                <a:latin typeface="+mj-lt"/>
                <a:ea typeface="Open Sans Light" panose="020B0306030504020204" pitchFamily="34" charset="0"/>
                <a:cs typeface="Open Sans Light" panose="020B0306030504020204" pitchFamily="34" charset="0"/>
              </a:rPr>
              <a:t>Die Optimierung des Leistungsspektrums im Spannungsfeld zwischen Qualität, Kosten und Zeit ist ebenso wichtig wie die detaillierte Definition der Portfolio-</a:t>
            </a:r>
            <a:r>
              <a:rPr lang="en-GB" sz="1700" dirty="0" err="1">
                <a:solidFill>
                  <a:srgbClr val="245473"/>
                </a:solidFill>
                <a:latin typeface="+mj-lt"/>
                <a:ea typeface="Open Sans Light" panose="020B0306030504020204" pitchFamily="34" charset="0"/>
                <a:cs typeface="Open Sans Light" panose="020B0306030504020204" pitchFamily="34" charset="0"/>
              </a:rPr>
              <a:t>zusammensetzung</a:t>
            </a:r>
            <a:r>
              <a:rPr lang="en-GB" sz="1700" dirty="0">
                <a:solidFill>
                  <a:srgbClr val="245473"/>
                </a:solidFill>
                <a:latin typeface="+mj-lt"/>
                <a:ea typeface="Open Sans Light" panose="020B0306030504020204" pitchFamily="34" charset="0"/>
                <a:cs typeface="Open Sans Light" panose="020B0306030504020204" pitchFamily="34" charset="0"/>
              </a:rPr>
              <a:t>, des Kerngeschäfts, der Kernfähigkeiten und der angestrebten Marktposition/Wettbewerbsvorteile unter ständiger Berücksichtigung der </a:t>
            </a:r>
            <a:r>
              <a:rPr lang="en-GB" sz="1700" dirty="0" err="1">
                <a:solidFill>
                  <a:srgbClr val="245473"/>
                </a:solidFill>
                <a:latin typeface="+mj-lt"/>
                <a:ea typeface="Open Sans Light" panose="020B0306030504020204" pitchFamily="34" charset="0"/>
                <a:cs typeface="Open Sans Light" panose="020B0306030504020204" pitchFamily="34" charset="0"/>
              </a:rPr>
              <a:t>Kunden-anforderungen</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 im Unternehmen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vorhanden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Ressourc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sind entscheidend für den Erfolg</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 Kombination vorhandener Ressourcen führt zum Erwerb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spezieller</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ähigkeit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p>
          <a:p>
            <a:pPr marL="285750" indent="-285750" algn="l">
              <a:lnSpc>
                <a:spcPct val="100000"/>
              </a:lnSpc>
              <a:spcBef>
                <a:spcPts val="600"/>
              </a:spcBef>
              <a:buFont typeface="Wingdings" panose="05000000000000000000" pitchFamily="2" charset="2"/>
              <a:buChar char="à"/>
            </a:pP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se</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Fähigkeit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ien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ernachhaltig</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ositiven</a:t>
            </a:r>
            <a:r>
              <a:rPr lang="en-GB" sz="17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17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Unternehmensentwicklung</a:t>
            </a:r>
            <a:endParaRPr lang="en-GB" sz="17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17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7" name="Gruppieren 6">
            <a:extLst>
              <a:ext uri="{FF2B5EF4-FFF2-40B4-BE49-F238E27FC236}">
                <a16:creationId xmlns:a16="http://schemas.microsoft.com/office/drawing/2014/main" xmlns="" id="{3D5012A7-9541-40B7-91B7-F89B38B3DA02}"/>
              </a:ext>
            </a:extLst>
          </p:cNvPr>
          <p:cNvGrpSpPr/>
          <p:nvPr/>
        </p:nvGrpSpPr>
        <p:grpSpPr>
          <a:xfrm>
            <a:off x="4038600" y="1822692"/>
            <a:ext cx="7913914" cy="4763165"/>
            <a:chOff x="4502203" y="2080221"/>
            <a:chExt cx="6397011" cy="2657780"/>
          </a:xfrm>
        </p:grpSpPr>
        <p:sp>
          <p:nvSpPr>
            <p:cNvPr id="25" name="Freeform 31">
              <a:extLst>
                <a:ext uri="{FF2B5EF4-FFF2-40B4-BE49-F238E27FC236}">
                  <a16:creationId xmlns:a16="http://schemas.microsoft.com/office/drawing/2014/main" xmlns="" id="{C86B3ACA-8E5D-4D97-97BA-EDE33BBA4D59}"/>
                </a:ext>
              </a:extLst>
            </p:cNvPr>
            <p:cNvSpPr>
              <a:spLocks noChangeArrowheads="1"/>
            </p:cNvSpPr>
            <p:nvPr/>
          </p:nvSpPr>
          <p:spPr bwMode="auto">
            <a:xfrm>
              <a:off x="8988115" y="3942744"/>
              <a:ext cx="1504528" cy="179573"/>
            </a:xfrm>
            <a:custGeom>
              <a:avLst/>
              <a:gdLst>
                <a:gd name="T0" fmla="*/ 0 w 1631"/>
                <a:gd name="T1" fmla="*/ 0 h 322"/>
                <a:gd name="T2" fmla="*/ 750 w 1631"/>
                <a:gd name="T3" fmla="*/ 321 h 322"/>
                <a:gd name="T4" fmla="*/ 1585 w 1631"/>
                <a:gd name="T5" fmla="*/ 268 h 322"/>
                <a:gd name="T6" fmla="*/ 1630 w 1631"/>
                <a:gd name="T7" fmla="*/ 53 h 322"/>
                <a:gd name="T8" fmla="*/ 0 w 1631"/>
                <a:gd name="T9" fmla="*/ 0 h 322"/>
              </a:gdLst>
              <a:ahLst/>
              <a:cxnLst>
                <a:cxn ang="0">
                  <a:pos x="T0" y="T1"/>
                </a:cxn>
                <a:cxn ang="0">
                  <a:pos x="T2" y="T3"/>
                </a:cxn>
                <a:cxn ang="0">
                  <a:pos x="T4" y="T5"/>
                </a:cxn>
                <a:cxn ang="0">
                  <a:pos x="T6" y="T7"/>
                </a:cxn>
                <a:cxn ang="0">
                  <a:pos x="T8" y="T9"/>
                </a:cxn>
              </a:cxnLst>
              <a:rect l="0" t="0" r="r" b="b"/>
              <a:pathLst>
                <a:path w="1631" h="322">
                  <a:moveTo>
                    <a:pt x="0" y="0"/>
                  </a:moveTo>
                  <a:lnTo>
                    <a:pt x="750" y="321"/>
                  </a:lnTo>
                  <a:lnTo>
                    <a:pt x="1585" y="268"/>
                  </a:lnTo>
                  <a:lnTo>
                    <a:pt x="1630" y="53"/>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6" name="Freeform 33">
              <a:extLst>
                <a:ext uri="{FF2B5EF4-FFF2-40B4-BE49-F238E27FC236}">
                  <a16:creationId xmlns:a16="http://schemas.microsoft.com/office/drawing/2014/main" xmlns="" id="{F54E4C35-4FB2-41FE-89FF-56001957D408}"/>
                </a:ext>
              </a:extLst>
            </p:cNvPr>
            <p:cNvSpPr>
              <a:spLocks noChangeArrowheads="1"/>
            </p:cNvSpPr>
            <p:nvPr/>
          </p:nvSpPr>
          <p:spPr bwMode="auto">
            <a:xfrm>
              <a:off x="9679384" y="4086174"/>
              <a:ext cx="772594" cy="235507"/>
            </a:xfrm>
            <a:custGeom>
              <a:avLst/>
              <a:gdLst>
                <a:gd name="T0" fmla="*/ 10 w 836"/>
                <a:gd name="T1" fmla="*/ 358 h 359"/>
                <a:gd name="T2" fmla="*/ 835 w 836"/>
                <a:gd name="T3" fmla="*/ 0 h 359"/>
                <a:gd name="T4" fmla="*/ 0 w 836"/>
                <a:gd name="T5" fmla="*/ 53 h 359"/>
                <a:gd name="T6" fmla="*/ 10 w 836"/>
                <a:gd name="T7" fmla="*/ 358 h 359"/>
              </a:gdLst>
              <a:ahLst/>
              <a:cxnLst>
                <a:cxn ang="0">
                  <a:pos x="T0" y="T1"/>
                </a:cxn>
                <a:cxn ang="0">
                  <a:pos x="T2" y="T3"/>
                </a:cxn>
                <a:cxn ang="0">
                  <a:pos x="T4" y="T5"/>
                </a:cxn>
                <a:cxn ang="0">
                  <a:pos x="T6" y="T7"/>
                </a:cxn>
              </a:cxnLst>
              <a:rect l="0" t="0" r="r" b="b"/>
              <a:pathLst>
                <a:path w="836" h="359">
                  <a:moveTo>
                    <a:pt x="10" y="358"/>
                  </a:moveTo>
                  <a:lnTo>
                    <a:pt x="835" y="0"/>
                  </a:lnTo>
                  <a:lnTo>
                    <a:pt x="0" y="53"/>
                  </a:lnTo>
                  <a:lnTo>
                    <a:pt x="10" y="358"/>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7" name="Freeform 34">
              <a:extLst>
                <a:ext uri="{FF2B5EF4-FFF2-40B4-BE49-F238E27FC236}">
                  <a16:creationId xmlns:a16="http://schemas.microsoft.com/office/drawing/2014/main" xmlns="" id="{BBFCC594-6BF9-429F-87C2-97BB580CF53E}"/>
                </a:ext>
              </a:extLst>
            </p:cNvPr>
            <p:cNvSpPr>
              <a:spLocks noChangeArrowheads="1"/>
            </p:cNvSpPr>
            <p:nvPr/>
          </p:nvSpPr>
          <p:spPr bwMode="auto">
            <a:xfrm>
              <a:off x="8748204" y="3758204"/>
              <a:ext cx="1744437" cy="212248"/>
            </a:xfrm>
            <a:custGeom>
              <a:avLst/>
              <a:gdLst>
                <a:gd name="T0" fmla="*/ 1890 w 1891"/>
                <a:gd name="T1" fmla="*/ 273 h 445"/>
                <a:gd name="T2" fmla="*/ 1890 w 1891"/>
                <a:gd name="T3" fmla="*/ 444 h 445"/>
                <a:gd name="T4" fmla="*/ 260 w 1891"/>
                <a:gd name="T5" fmla="*/ 391 h 445"/>
                <a:gd name="T6" fmla="*/ 0 w 1891"/>
                <a:gd name="T7" fmla="*/ 0 h 445"/>
                <a:gd name="T8" fmla="*/ 1890 w 1891"/>
                <a:gd name="T9" fmla="*/ 273 h 445"/>
              </a:gdLst>
              <a:ahLst/>
              <a:cxnLst>
                <a:cxn ang="0">
                  <a:pos x="T0" y="T1"/>
                </a:cxn>
                <a:cxn ang="0">
                  <a:pos x="T2" y="T3"/>
                </a:cxn>
                <a:cxn ang="0">
                  <a:pos x="T4" y="T5"/>
                </a:cxn>
                <a:cxn ang="0">
                  <a:pos x="T6" y="T7"/>
                </a:cxn>
                <a:cxn ang="0">
                  <a:pos x="T8" y="T9"/>
                </a:cxn>
              </a:cxnLst>
              <a:rect l="0" t="0" r="r" b="b"/>
              <a:pathLst>
                <a:path w="1891" h="445">
                  <a:moveTo>
                    <a:pt x="1890" y="273"/>
                  </a:moveTo>
                  <a:lnTo>
                    <a:pt x="1890" y="444"/>
                  </a:lnTo>
                  <a:lnTo>
                    <a:pt x="260" y="391"/>
                  </a:lnTo>
                  <a:lnTo>
                    <a:pt x="0" y="0"/>
                  </a:lnTo>
                  <a:lnTo>
                    <a:pt x="1890" y="273"/>
                  </a:lnTo>
                </a:path>
              </a:pathLst>
            </a:custGeom>
            <a:solidFill>
              <a:schemeClr val="accent3">
                <a:lumMod val="75000"/>
              </a:schemeClr>
            </a:solidFill>
            <a:ln>
              <a:noFill/>
            </a:ln>
            <a:effectLst/>
          </p:spPr>
          <p:txBody>
            <a:bodyPr wrap="none" anchor="ctr"/>
            <a:lstStyle/>
            <a:p>
              <a:endParaRPr lang="en-GB" sz="2700" dirty="0">
                <a:latin typeface="Roboto" charset="0"/>
                <a:ea typeface="Roboto" charset="0"/>
                <a:cs typeface="Roboto" charset="0"/>
              </a:endParaRPr>
            </a:p>
          </p:txBody>
        </p:sp>
        <p:sp>
          <p:nvSpPr>
            <p:cNvPr id="28" name="Freeform 35">
              <a:extLst>
                <a:ext uri="{FF2B5EF4-FFF2-40B4-BE49-F238E27FC236}">
                  <a16:creationId xmlns:a16="http://schemas.microsoft.com/office/drawing/2014/main" xmlns="" id="{B1FADC7E-D356-42C0-86D6-90A1402F2FAF}"/>
                </a:ext>
              </a:extLst>
            </p:cNvPr>
            <p:cNvSpPr>
              <a:spLocks noChangeArrowheads="1"/>
            </p:cNvSpPr>
            <p:nvPr/>
          </p:nvSpPr>
          <p:spPr bwMode="auto">
            <a:xfrm>
              <a:off x="8571041" y="2080221"/>
              <a:ext cx="2328173" cy="2566669"/>
            </a:xfrm>
            <a:custGeom>
              <a:avLst/>
              <a:gdLst>
                <a:gd name="T0" fmla="*/ 0 w 1987"/>
                <a:gd name="T1" fmla="*/ 0 h 2709"/>
                <a:gd name="T2" fmla="*/ 0 w 1987"/>
                <a:gd name="T3" fmla="*/ 2435 h 2709"/>
                <a:gd name="T4" fmla="*/ 1890 w 1987"/>
                <a:gd name="T5" fmla="*/ 2708 h 2709"/>
                <a:gd name="T6" fmla="*/ 1986 w 1987"/>
                <a:gd name="T7" fmla="*/ 0 h 2709"/>
                <a:gd name="T8" fmla="*/ 0 w 1987"/>
                <a:gd name="T9" fmla="*/ 0 h 2709"/>
              </a:gdLst>
              <a:ahLst/>
              <a:cxnLst>
                <a:cxn ang="0">
                  <a:pos x="T0" y="T1"/>
                </a:cxn>
                <a:cxn ang="0">
                  <a:pos x="T2" y="T3"/>
                </a:cxn>
                <a:cxn ang="0">
                  <a:pos x="T4" y="T5"/>
                </a:cxn>
                <a:cxn ang="0">
                  <a:pos x="T6" y="T7"/>
                </a:cxn>
                <a:cxn ang="0">
                  <a:pos x="T8" y="T9"/>
                </a:cxn>
              </a:cxnLst>
              <a:rect l="0" t="0" r="r" b="b"/>
              <a:pathLst>
                <a:path w="1987" h="2709">
                  <a:moveTo>
                    <a:pt x="0" y="0"/>
                  </a:moveTo>
                  <a:lnTo>
                    <a:pt x="0" y="2435"/>
                  </a:lnTo>
                  <a:lnTo>
                    <a:pt x="1890" y="2708"/>
                  </a:lnTo>
                  <a:lnTo>
                    <a:pt x="1986" y="0"/>
                  </a:lnTo>
                  <a:lnTo>
                    <a:pt x="0" y="0"/>
                  </a:lnTo>
                </a:path>
              </a:pathLst>
            </a:custGeom>
            <a:solidFill>
              <a:schemeClr val="accent3"/>
            </a:solidFill>
            <a:ln>
              <a:noFill/>
            </a:ln>
            <a:effectLst/>
          </p:spPr>
          <p:txBody>
            <a:bodyPr wrap="none" anchor="ctr"/>
            <a:lstStyle/>
            <a:p>
              <a:endParaRPr lang="en-GB" sz="2700" dirty="0">
                <a:latin typeface="Roboto" charset="0"/>
                <a:ea typeface="Roboto" charset="0"/>
                <a:cs typeface="Roboto" charset="0"/>
              </a:endParaRPr>
            </a:p>
          </p:txBody>
        </p:sp>
        <p:sp>
          <p:nvSpPr>
            <p:cNvPr id="29" name="Freeform 37">
              <a:extLst>
                <a:ext uri="{FF2B5EF4-FFF2-40B4-BE49-F238E27FC236}">
                  <a16:creationId xmlns:a16="http://schemas.microsoft.com/office/drawing/2014/main" xmlns="" id="{C68A98C7-7777-4E34-BE4D-75C0539BE924}"/>
                </a:ext>
              </a:extLst>
            </p:cNvPr>
            <p:cNvSpPr>
              <a:spLocks noChangeArrowheads="1"/>
            </p:cNvSpPr>
            <p:nvPr/>
          </p:nvSpPr>
          <p:spPr bwMode="auto">
            <a:xfrm>
              <a:off x="6546160" y="2080223"/>
              <a:ext cx="1919290" cy="1959654"/>
            </a:xfrm>
            <a:custGeom>
              <a:avLst/>
              <a:gdLst>
                <a:gd name="T0" fmla="*/ 0 w 2081"/>
                <a:gd name="T1" fmla="*/ 0 h 2974"/>
                <a:gd name="T2" fmla="*/ 0 w 2081"/>
                <a:gd name="T3" fmla="*/ 2973 h 2974"/>
                <a:gd name="T4" fmla="*/ 1892 w 2081"/>
                <a:gd name="T5" fmla="*/ 2499 h 2974"/>
                <a:gd name="T6" fmla="*/ 2080 w 2081"/>
                <a:gd name="T7" fmla="*/ 0 h 2974"/>
                <a:gd name="T8" fmla="*/ 0 w 2081"/>
                <a:gd name="T9" fmla="*/ 0 h 2974"/>
              </a:gdLst>
              <a:ahLst/>
              <a:cxnLst>
                <a:cxn ang="0">
                  <a:pos x="T0" y="T1"/>
                </a:cxn>
                <a:cxn ang="0">
                  <a:pos x="T2" y="T3"/>
                </a:cxn>
                <a:cxn ang="0">
                  <a:pos x="T4" y="T5"/>
                </a:cxn>
                <a:cxn ang="0">
                  <a:pos x="T6" y="T7"/>
                </a:cxn>
                <a:cxn ang="0">
                  <a:pos x="T8" y="T9"/>
                </a:cxn>
              </a:cxnLst>
              <a:rect l="0" t="0" r="r" b="b"/>
              <a:pathLst>
                <a:path w="2081" h="2974">
                  <a:moveTo>
                    <a:pt x="0" y="0"/>
                  </a:moveTo>
                  <a:lnTo>
                    <a:pt x="0" y="2973"/>
                  </a:lnTo>
                  <a:lnTo>
                    <a:pt x="1892" y="2499"/>
                  </a:lnTo>
                  <a:lnTo>
                    <a:pt x="2080" y="0"/>
                  </a:lnTo>
                  <a:lnTo>
                    <a:pt x="0" y="0"/>
                  </a:lnTo>
                </a:path>
              </a:pathLst>
            </a:custGeom>
            <a:solidFill>
              <a:schemeClr val="accent2"/>
            </a:solidFill>
            <a:ln>
              <a:noFill/>
            </a:ln>
            <a:effectLst/>
          </p:spPr>
          <p:txBody>
            <a:bodyPr wrap="none" anchor="ctr"/>
            <a:lstStyle/>
            <a:p>
              <a:endParaRPr lang="en-GB" sz="2700" dirty="0">
                <a:latin typeface="Roboto" charset="0"/>
                <a:ea typeface="Roboto" charset="0"/>
                <a:cs typeface="Roboto" charset="0"/>
              </a:endParaRPr>
            </a:p>
          </p:txBody>
        </p:sp>
        <p:sp>
          <p:nvSpPr>
            <p:cNvPr id="30" name="Freeform 39">
              <a:extLst>
                <a:ext uri="{FF2B5EF4-FFF2-40B4-BE49-F238E27FC236}">
                  <a16:creationId xmlns:a16="http://schemas.microsoft.com/office/drawing/2014/main" xmlns="" id="{CEDD705A-ACE6-489F-9C44-7C9CE97C7FE1}"/>
                </a:ext>
              </a:extLst>
            </p:cNvPr>
            <p:cNvSpPr>
              <a:spLocks noChangeArrowheads="1"/>
            </p:cNvSpPr>
            <p:nvPr/>
          </p:nvSpPr>
          <p:spPr bwMode="auto">
            <a:xfrm>
              <a:off x="4502203" y="2080222"/>
              <a:ext cx="2055425" cy="2657779"/>
            </a:xfrm>
            <a:custGeom>
              <a:avLst/>
              <a:gdLst>
                <a:gd name="T0" fmla="*/ 0 w 2177"/>
                <a:gd name="T1" fmla="*/ 0 h 3070"/>
                <a:gd name="T2" fmla="*/ 0 w 2177"/>
                <a:gd name="T3" fmla="*/ 2786 h 3070"/>
                <a:gd name="T4" fmla="*/ 2176 w 2177"/>
                <a:gd name="T5" fmla="*/ 3069 h 3070"/>
                <a:gd name="T6" fmla="*/ 1892 w 2177"/>
                <a:gd name="T7" fmla="*/ 0 h 3070"/>
                <a:gd name="T8" fmla="*/ 0 w 2177"/>
                <a:gd name="T9" fmla="*/ 0 h 3070"/>
              </a:gdLst>
              <a:ahLst/>
              <a:cxnLst>
                <a:cxn ang="0">
                  <a:pos x="T0" y="T1"/>
                </a:cxn>
                <a:cxn ang="0">
                  <a:pos x="T2" y="T3"/>
                </a:cxn>
                <a:cxn ang="0">
                  <a:pos x="T4" y="T5"/>
                </a:cxn>
                <a:cxn ang="0">
                  <a:pos x="T6" y="T7"/>
                </a:cxn>
                <a:cxn ang="0">
                  <a:pos x="T8" y="T9"/>
                </a:cxn>
              </a:cxnLst>
              <a:rect l="0" t="0" r="r" b="b"/>
              <a:pathLst>
                <a:path w="2177" h="3070">
                  <a:moveTo>
                    <a:pt x="0" y="0"/>
                  </a:moveTo>
                  <a:lnTo>
                    <a:pt x="0" y="2786"/>
                  </a:lnTo>
                  <a:lnTo>
                    <a:pt x="2176" y="3069"/>
                  </a:lnTo>
                  <a:lnTo>
                    <a:pt x="1892" y="0"/>
                  </a:lnTo>
                  <a:lnTo>
                    <a:pt x="0" y="0"/>
                  </a:lnTo>
                </a:path>
              </a:pathLst>
            </a:custGeom>
            <a:solidFill>
              <a:schemeClr val="accent1"/>
            </a:solidFill>
            <a:ln>
              <a:noFill/>
            </a:ln>
            <a:effectLst/>
          </p:spPr>
          <p:txBody>
            <a:bodyPr wrap="none" anchor="ctr"/>
            <a:lstStyle/>
            <a:p>
              <a:endParaRPr lang="en-GB" sz="2700" dirty="0">
                <a:latin typeface="Roboto" charset="0"/>
                <a:ea typeface="Roboto" charset="0"/>
                <a:cs typeface="Roboto" charset="0"/>
              </a:endParaRPr>
            </a:p>
          </p:txBody>
        </p:sp>
      </p:grpSp>
      <p:sp>
        <p:nvSpPr>
          <p:cNvPr id="68" name="Subtitle 2">
            <a:extLst>
              <a:ext uri="{FF2B5EF4-FFF2-40B4-BE49-F238E27FC236}">
                <a16:creationId xmlns:a16="http://schemas.microsoft.com/office/drawing/2014/main" xmlns="" id="{4C178A3B-186B-4F5B-A13F-89D47B3955CE}"/>
              </a:ext>
            </a:extLst>
          </p:cNvPr>
          <p:cNvSpPr txBox="1">
            <a:spLocks/>
          </p:cNvSpPr>
          <p:nvPr/>
        </p:nvSpPr>
        <p:spPr>
          <a:xfrm>
            <a:off x="4126811" y="1934356"/>
            <a:ext cx="1969189" cy="418961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Wenn sich die Stakeholder-Krise negativ auf die </a:t>
            </a:r>
            <a:r>
              <a:rPr lang="en-GB" sz="1800" dirty="0" err="1">
                <a:solidFill>
                  <a:schemeClr val="bg1"/>
                </a:solidFill>
                <a:latin typeface="+mj-lt"/>
                <a:ea typeface="Lato Light" panose="020F0502020204030203" pitchFamily="34" charset="0"/>
                <a:cs typeface="Mukta ExtraLight" panose="020B0000000000000000" pitchFamily="34" charset="77"/>
              </a:rPr>
              <a:t>Unternehmens-entwicklung</a:t>
            </a:r>
            <a:r>
              <a:rPr lang="en-GB" sz="1800" dirty="0">
                <a:solidFill>
                  <a:schemeClr val="bg1"/>
                </a:solidFill>
                <a:latin typeface="+mj-lt"/>
                <a:ea typeface="Lato Light" panose="020F0502020204030203" pitchFamily="34" charset="0"/>
                <a:cs typeface="Mukta ExtraLight" panose="020B0000000000000000" pitchFamily="34" charset="77"/>
              </a:rPr>
              <a:t> auswirkt, kann sie nur überwunden </a:t>
            </a:r>
            <a:r>
              <a:rPr lang="en-GB" sz="1800" dirty="0" err="1">
                <a:solidFill>
                  <a:schemeClr val="bg1"/>
                </a:solidFill>
                <a:latin typeface="+mj-lt"/>
                <a:ea typeface="Lato Light" panose="020F0502020204030203" pitchFamily="34" charset="0"/>
                <a:cs typeface="Mukta ExtraLight" panose="020B0000000000000000" pitchFamily="34" charset="77"/>
              </a:rPr>
              <a:t>werde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wen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eine</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gemeinsame</a:t>
            </a:r>
            <a:r>
              <a:rPr lang="en-GB" sz="1800" dirty="0">
                <a:solidFill>
                  <a:schemeClr val="bg1"/>
                </a:solidFill>
                <a:latin typeface="+mj-lt"/>
                <a:ea typeface="Lato Light" panose="020F0502020204030203" pitchFamily="34" charset="0"/>
                <a:cs typeface="Mukta ExtraLight" panose="020B0000000000000000" pitchFamily="34" charset="77"/>
              </a:rPr>
              <a:t> Basis für eine vertrauensvolle Zusammenarbeit mit allen wichtigen </a:t>
            </a:r>
            <a:r>
              <a:rPr lang="en-GB" sz="1800" dirty="0" err="1">
                <a:solidFill>
                  <a:schemeClr val="bg1"/>
                </a:solidFill>
                <a:latin typeface="+mj-lt"/>
                <a:ea typeface="Lato Light" panose="020F0502020204030203" pitchFamily="34" charset="0"/>
                <a:cs typeface="Mukta ExtraLight" panose="020B0000000000000000" pitchFamily="34" charset="77"/>
              </a:rPr>
              <a:t>Interessengruppe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gefunde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wird</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71" name="Subtitle 2">
            <a:extLst>
              <a:ext uri="{FF2B5EF4-FFF2-40B4-BE49-F238E27FC236}">
                <a16:creationId xmlns:a16="http://schemas.microsoft.com/office/drawing/2014/main" xmlns="" id="{02E605D7-241B-4C88-9438-1300EB47C0F2}"/>
              </a:ext>
            </a:extLst>
          </p:cNvPr>
          <p:cNvSpPr txBox="1">
            <a:spLocks/>
          </p:cNvSpPr>
          <p:nvPr/>
        </p:nvSpPr>
        <p:spPr>
          <a:xfrm>
            <a:off x="6842250" y="1945001"/>
            <a:ext cx="1969189" cy="21890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Es muss ein Konsens über die Zusammenarbeit und über eine gemeinsam getragene Zielstruktur erreicht werden</a:t>
            </a:r>
          </a:p>
        </p:txBody>
      </p:sp>
      <p:sp>
        <p:nvSpPr>
          <p:cNvPr id="72" name="Subtitle 2">
            <a:extLst>
              <a:ext uri="{FF2B5EF4-FFF2-40B4-BE49-F238E27FC236}">
                <a16:creationId xmlns:a16="http://schemas.microsoft.com/office/drawing/2014/main" xmlns="" id="{55FF8A2F-2739-4B2B-8F20-1475B64E1D35}"/>
              </a:ext>
            </a:extLst>
          </p:cNvPr>
          <p:cNvSpPr txBox="1">
            <a:spLocks/>
          </p:cNvSpPr>
          <p:nvPr/>
        </p:nvSpPr>
        <p:spPr>
          <a:xfrm>
            <a:off x="9188712" y="1942729"/>
            <a:ext cx="2622288" cy="335862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In diesem Zusammenhang ist zu prüfen, ob zur Unterstützung des beabsichtigten Sanierungskonzepts und als </a:t>
            </a:r>
            <a:r>
              <a:rPr lang="en-GB" sz="1800" dirty="0" err="1">
                <a:solidFill>
                  <a:schemeClr val="bg1"/>
                </a:solidFill>
                <a:latin typeface="+mj-lt"/>
                <a:ea typeface="Lato Light" panose="020F0502020204030203" pitchFamily="34" charset="0"/>
                <a:cs typeface="Mukta ExtraLight" panose="020B0000000000000000" pitchFamily="34" charset="77"/>
              </a:rPr>
              <a:t>vertrauensbildende</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Maßnahme</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neue</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Organisationsstrukturen</a:t>
            </a:r>
            <a:r>
              <a:rPr lang="en-GB" sz="1800" dirty="0">
                <a:solidFill>
                  <a:schemeClr val="bg1"/>
                </a:solidFill>
                <a:latin typeface="+mj-lt"/>
                <a:ea typeface="Lato Light" panose="020F0502020204030203" pitchFamily="34" charset="0"/>
                <a:cs typeface="Mukta ExtraLight" panose="020B0000000000000000" pitchFamily="34" charset="77"/>
              </a:rPr>
              <a:t>  zur Begleitung des Unternehmens durch die </a:t>
            </a:r>
            <a:r>
              <a:rPr lang="en-GB" sz="1800" dirty="0" err="1">
                <a:solidFill>
                  <a:schemeClr val="bg1"/>
                </a:solidFill>
                <a:latin typeface="+mj-lt"/>
                <a:ea typeface="Lato Light" panose="020F0502020204030203" pitchFamily="34" charset="0"/>
                <a:cs typeface="Mukta ExtraLight" panose="020B0000000000000000" pitchFamily="34" charset="77"/>
              </a:rPr>
              <a:t>Krise</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geschaffe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werden</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müssen</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17" name="Textplatzhalter 1">
            <a:extLst>
              <a:ext uri="{FF2B5EF4-FFF2-40B4-BE49-F238E27FC236}">
                <a16:creationId xmlns:a16="http://schemas.microsoft.com/office/drawing/2014/main" xmlns="" id="{5DD40070-F9C0-4095-9394-C09C7B52F86B}"/>
              </a:ext>
            </a:extLst>
          </p:cNvPr>
          <p:cNvSpPr>
            <a:spLocks noGrp="1"/>
          </p:cNvSpPr>
          <p:nvPr>
            <p:ph type="body" sz="quarter" idx="13"/>
          </p:nvPr>
        </p:nvSpPr>
        <p:spPr>
          <a:xfrm>
            <a:off x="1528305" y="528794"/>
            <a:ext cx="8852375" cy="697353"/>
          </a:xfrm>
        </p:spPr>
        <p:txBody>
          <a:bodyPr>
            <a:normAutofit/>
          </a:bodyPr>
          <a:lstStyle/>
          <a:p>
            <a:r>
              <a:rPr lang="en-GB" dirty="0"/>
              <a:t>Strategie </a:t>
            </a:r>
            <a:r>
              <a:rPr lang="en-GB" dirty="0" err="1"/>
              <a:t>zur</a:t>
            </a:r>
            <a:r>
              <a:rPr lang="en-GB" dirty="0"/>
              <a:t> </a:t>
            </a:r>
            <a:r>
              <a:rPr lang="en-GB" dirty="0" err="1"/>
              <a:t>Krisenbewältigung</a:t>
            </a:r>
            <a:r>
              <a:rPr lang="en-GB" dirty="0"/>
              <a:t> (Forts.)</a:t>
            </a:r>
          </a:p>
        </p:txBody>
      </p:sp>
    </p:spTree>
    <p:extLst>
      <p:ext uri="{BB962C8B-B14F-4D97-AF65-F5344CB8AC3E}">
        <p14:creationId xmlns:p14="http://schemas.microsoft.com/office/powerpoint/2010/main" val="5554670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71027" y="2228881"/>
            <a:ext cx="2068528" cy="245225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etztlich muss aber das Management selbst in der Lage sein, </a:t>
            </a:r>
            <a:r>
              <a:rPr lang="en-GB" sz="2200" dirty="0" err="1">
                <a:solidFill>
                  <a:srgbClr val="245473"/>
                </a:solidFill>
                <a:latin typeface="+mj-lt"/>
                <a:ea typeface="Open Sans Light" panose="020B0306030504020204" pitchFamily="34" charset="0"/>
                <a:cs typeface="Open Sans Light" panose="020B0306030504020204" pitchFamily="34" charset="0"/>
              </a:rPr>
              <a:t>folgendes</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zu</a:t>
            </a:r>
            <a:r>
              <a:rPr lang="en-GB" sz="2200" dirty="0">
                <a:solidFill>
                  <a:srgbClr val="245473"/>
                </a:solidFill>
                <a:latin typeface="+mj-lt"/>
                <a:ea typeface="Open Sans Light" panose="020B0306030504020204" pitchFamily="34" charset="0"/>
                <a:cs typeface="Open Sans Light" panose="020B0306030504020204" pitchFamily="34" charset="0"/>
              </a:rPr>
              <a:t> managen:</a:t>
            </a:r>
            <a:endParaRPr lang="en-US" dirty="0">
              <a:solidFill>
                <a:srgbClr val="245473"/>
              </a:solidFill>
            </a:endParaRPr>
          </a:p>
        </p:txBody>
      </p:sp>
      <p:grpSp>
        <p:nvGrpSpPr>
          <p:cNvPr id="21" name="Group 23">
            <a:extLst>
              <a:ext uri="{FF2B5EF4-FFF2-40B4-BE49-F238E27FC236}">
                <a16:creationId xmlns:a16="http://schemas.microsoft.com/office/drawing/2014/main" xmlns="" id="{08D87D39-1ADE-4332-B3D1-AE7F2A1B1D50}"/>
              </a:ext>
            </a:extLst>
          </p:cNvPr>
          <p:cNvGrpSpPr/>
          <p:nvPr/>
        </p:nvGrpSpPr>
        <p:grpSpPr>
          <a:xfrm>
            <a:off x="5545485" y="2494870"/>
            <a:ext cx="3209831" cy="3221996"/>
            <a:chOff x="7910165" y="3409753"/>
            <a:chExt cx="8557321" cy="8589752"/>
          </a:xfrm>
        </p:grpSpPr>
        <p:sp>
          <p:nvSpPr>
            <p:cNvPr id="22" name="Freeform 1">
              <a:extLst>
                <a:ext uri="{FF2B5EF4-FFF2-40B4-BE49-F238E27FC236}">
                  <a16:creationId xmlns:a16="http://schemas.microsoft.com/office/drawing/2014/main" xmlns="" id="{E4B66A95-D654-43EA-80E1-38CC105C151F}"/>
                </a:ext>
              </a:extLst>
            </p:cNvPr>
            <p:cNvSpPr>
              <a:spLocks noChangeArrowheads="1"/>
            </p:cNvSpPr>
            <p:nvPr/>
          </p:nvSpPr>
          <p:spPr bwMode="auto">
            <a:xfrm>
              <a:off x="8982950" y="3881278"/>
              <a:ext cx="7387237" cy="7387238"/>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600" dirty="0"/>
            </a:p>
          </p:txBody>
        </p:sp>
        <p:sp>
          <p:nvSpPr>
            <p:cNvPr id="35" name="Freeform 3">
              <a:extLst>
                <a:ext uri="{FF2B5EF4-FFF2-40B4-BE49-F238E27FC236}">
                  <a16:creationId xmlns:a16="http://schemas.microsoft.com/office/drawing/2014/main" xmlns="" id="{7442D6C5-DB40-45E0-9B08-31DF2805A2FF}"/>
                </a:ext>
              </a:extLst>
            </p:cNvPr>
            <p:cNvSpPr>
              <a:spLocks noChangeArrowheads="1"/>
            </p:cNvSpPr>
            <p:nvPr/>
          </p:nvSpPr>
          <p:spPr bwMode="auto">
            <a:xfrm>
              <a:off x="8828269" y="4011010"/>
              <a:ext cx="7387237" cy="7387238"/>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600" dirty="0"/>
            </a:p>
          </p:txBody>
        </p:sp>
        <p:sp>
          <p:nvSpPr>
            <p:cNvPr id="36" name="Freeform 5">
              <a:extLst>
                <a:ext uri="{FF2B5EF4-FFF2-40B4-BE49-F238E27FC236}">
                  <a16:creationId xmlns:a16="http://schemas.microsoft.com/office/drawing/2014/main" xmlns="" id="{C1BE49CB-7129-4538-ACD6-2A72AE5EC5FC}"/>
                </a:ext>
              </a:extLst>
            </p:cNvPr>
            <p:cNvSpPr>
              <a:spLocks noChangeArrowheads="1"/>
            </p:cNvSpPr>
            <p:nvPr/>
          </p:nvSpPr>
          <p:spPr bwMode="auto">
            <a:xfrm>
              <a:off x="8364228" y="3858827"/>
              <a:ext cx="7387237" cy="7387236"/>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600" dirty="0"/>
            </a:p>
          </p:txBody>
        </p:sp>
        <p:sp>
          <p:nvSpPr>
            <p:cNvPr id="37" name="Freeform 6">
              <a:extLst>
                <a:ext uri="{FF2B5EF4-FFF2-40B4-BE49-F238E27FC236}">
                  <a16:creationId xmlns:a16="http://schemas.microsoft.com/office/drawing/2014/main" xmlns="" id="{B3845CA6-FE40-468E-84EF-B544B7323DE2}"/>
                </a:ext>
              </a:extLst>
            </p:cNvPr>
            <p:cNvSpPr>
              <a:spLocks noChangeArrowheads="1"/>
            </p:cNvSpPr>
            <p:nvPr/>
          </p:nvSpPr>
          <p:spPr bwMode="auto">
            <a:xfrm>
              <a:off x="8304352" y="4245526"/>
              <a:ext cx="7387237" cy="7387238"/>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600" dirty="0"/>
            </a:p>
          </p:txBody>
        </p:sp>
        <p:sp>
          <p:nvSpPr>
            <p:cNvPr id="38" name="Freeform 9">
              <a:extLst>
                <a:ext uri="{FF2B5EF4-FFF2-40B4-BE49-F238E27FC236}">
                  <a16:creationId xmlns:a16="http://schemas.microsoft.com/office/drawing/2014/main" xmlns="" id="{158A44F4-BE30-4C85-88F1-F39BDC01810A}"/>
                </a:ext>
              </a:extLst>
            </p:cNvPr>
            <p:cNvSpPr>
              <a:spLocks noChangeArrowheads="1"/>
            </p:cNvSpPr>
            <p:nvPr/>
          </p:nvSpPr>
          <p:spPr bwMode="auto">
            <a:xfrm>
              <a:off x="8681071" y="4332846"/>
              <a:ext cx="7654187" cy="7654186"/>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600" dirty="0"/>
            </a:p>
          </p:txBody>
        </p:sp>
        <p:sp>
          <p:nvSpPr>
            <p:cNvPr id="39" name="Freeform 11">
              <a:extLst>
                <a:ext uri="{FF2B5EF4-FFF2-40B4-BE49-F238E27FC236}">
                  <a16:creationId xmlns:a16="http://schemas.microsoft.com/office/drawing/2014/main" xmlns="" id="{91485255-9400-4F1C-B104-8CF92688DF50}"/>
                </a:ext>
              </a:extLst>
            </p:cNvPr>
            <p:cNvSpPr>
              <a:spLocks noChangeArrowheads="1"/>
            </p:cNvSpPr>
            <p:nvPr/>
          </p:nvSpPr>
          <p:spPr bwMode="auto">
            <a:xfrm>
              <a:off x="8012452" y="3546969"/>
              <a:ext cx="7654187" cy="7654186"/>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600" dirty="0"/>
            </a:p>
          </p:txBody>
        </p:sp>
        <p:sp>
          <p:nvSpPr>
            <p:cNvPr id="40" name="Freeform 13">
              <a:extLst>
                <a:ext uri="{FF2B5EF4-FFF2-40B4-BE49-F238E27FC236}">
                  <a16:creationId xmlns:a16="http://schemas.microsoft.com/office/drawing/2014/main" xmlns="" id="{7703EE77-9BA1-4056-AE15-DBAEBE2071E9}"/>
                </a:ext>
              </a:extLst>
            </p:cNvPr>
            <p:cNvSpPr>
              <a:spLocks noChangeArrowheads="1"/>
            </p:cNvSpPr>
            <p:nvPr/>
          </p:nvSpPr>
          <p:spPr bwMode="auto">
            <a:xfrm>
              <a:off x="7910165" y="4345319"/>
              <a:ext cx="7654187" cy="7654186"/>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600" dirty="0"/>
            </a:p>
          </p:txBody>
        </p:sp>
        <p:sp>
          <p:nvSpPr>
            <p:cNvPr id="41" name="Freeform 15">
              <a:extLst>
                <a:ext uri="{FF2B5EF4-FFF2-40B4-BE49-F238E27FC236}">
                  <a16:creationId xmlns:a16="http://schemas.microsoft.com/office/drawing/2014/main" xmlns="" id="{507D20F4-78ED-4CFE-9978-4830087A5916}"/>
                </a:ext>
              </a:extLst>
            </p:cNvPr>
            <p:cNvSpPr>
              <a:spLocks noChangeArrowheads="1"/>
            </p:cNvSpPr>
            <p:nvPr/>
          </p:nvSpPr>
          <p:spPr bwMode="auto">
            <a:xfrm>
              <a:off x="8813299" y="3409753"/>
              <a:ext cx="7654187" cy="7654186"/>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600" dirty="0"/>
            </a:p>
          </p:txBody>
        </p:sp>
      </p:grpSp>
      <p:sp>
        <p:nvSpPr>
          <p:cNvPr id="42" name="Oval 14">
            <a:extLst>
              <a:ext uri="{FF2B5EF4-FFF2-40B4-BE49-F238E27FC236}">
                <a16:creationId xmlns:a16="http://schemas.microsoft.com/office/drawing/2014/main" xmlns="" id="{67686590-C4FF-4F64-9189-C9A9E843A6E0}"/>
              </a:ext>
            </a:extLst>
          </p:cNvPr>
          <p:cNvSpPr/>
          <p:nvPr/>
        </p:nvSpPr>
        <p:spPr>
          <a:xfrm>
            <a:off x="7521017" y="4800763"/>
            <a:ext cx="968519" cy="9685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3" name="Freeform 951">
            <a:extLst>
              <a:ext uri="{FF2B5EF4-FFF2-40B4-BE49-F238E27FC236}">
                <a16:creationId xmlns:a16="http://schemas.microsoft.com/office/drawing/2014/main" xmlns="" id="{AAD62CF3-10D6-4A44-A78A-C28D416FC7FE}"/>
              </a:ext>
            </a:extLst>
          </p:cNvPr>
          <p:cNvSpPr>
            <a:spLocks noChangeAspect="1"/>
          </p:cNvSpPr>
          <p:nvPr/>
        </p:nvSpPr>
        <p:spPr bwMode="auto">
          <a:xfrm>
            <a:off x="7801003" y="5078233"/>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600" dirty="0"/>
          </a:p>
        </p:txBody>
      </p:sp>
      <p:sp>
        <p:nvSpPr>
          <p:cNvPr id="44" name="Oval 13">
            <a:extLst>
              <a:ext uri="{FF2B5EF4-FFF2-40B4-BE49-F238E27FC236}">
                <a16:creationId xmlns:a16="http://schemas.microsoft.com/office/drawing/2014/main" xmlns="" id="{61D4D171-72E0-42A9-A19D-295F8F7D2A48}"/>
              </a:ext>
            </a:extLst>
          </p:cNvPr>
          <p:cNvSpPr/>
          <p:nvPr/>
        </p:nvSpPr>
        <p:spPr>
          <a:xfrm>
            <a:off x="5811265" y="4800763"/>
            <a:ext cx="968519" cy="9685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5" name="Freeform 953">
            <a:extLst>
              <a:ext uri="{FF2B5EF4-FFF2-40B4-BE49-F238E27FC236}">
                <a16:creationId xmlns:a16="http://schemas.microsoft.com/office/drawing/2014/main" xmlns="" id="{9CAF8C97-3835-4EA6-B18D-3646BCC60F4F}"/>
              </a:ext>
            </a:extLst>
          </p:cNvPr>
          <p:cNvSpPr>
            <a:spLocks noChangeAspect="1"/>
          </p:cNvSpPr>
          <p:nvPr/>
        </p:nvSpPr>
        <p:spPr bwMode="auto">
          <a:xfrm>
            <a:off x="6107591" y="5080747"/>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600" dirty="0"/>
          </a:p>
        </p:txBody>
      </p:sp>
      <p:sp>
        <p:nvSpPr>
          <p:cNvPr id="46" name="Oval 16">
            <a:extLst>
              <a:ext uri="{FF2B5EF4-FFF2-40B4-BE49-F238E27FC236}">
                <a16:creationId xmlns:a16="http://schemas.microsoft.com/office/drawing/2014/main" xmlns="" id="{C44F0BA4-6F0A-4E6C-A6E8-F464941BEB25}"/>
              </a:ext>
            </a:extLst>
          </p:cNvPr>
          <p:cNvSpPr/>
          <p:nvPr/>
        </p:nvSpPr>
        <p:spPr>
          <a:xfrm>
            <a:off x="5380968" y="3267529"/>
            <a:ext cx="968519" cy="968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7" name="Freeform 952">
            <a:extLst>
              <a:ext uri="{FF2B5EF4-FFF2-40B4-BE49-F238E27FC236}">
                <a16:creationId xmlns:a16="http://schemas.microsoft.com/office/drawing/2014/main" xmlns="" id="{04F3E5A4-5FCD-4757-ADD3-B1DF04258E9E}"/>
              </a:ext>
            </a:extLst>
          </p:cNvPr>
          <p:cNvSpPr>
            <a:spLocks noChangeAspect="1"/>
          </p:cNvSpPr>
          <p:nvPr/>
        </p:nvSpPr>
        <p:spPr bwMode="auto">
          <a:xfrm>
            <a:off x="5660325" y="3547514"/>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600" dirty="0"/>
          </a:p>
        </p:txBody>
      </p:sp>
      <p:sp>
        <p:nvSpPr>
          <p:cNvPr id="48" name="Oval 15">
            <a:extLst>
              <a:ext uri="{FF2B5EF4-FFF2-40B4-BE49-F238E27FC236}">
                <a16:creationId xmlns:a16="http://schemas.microsoft.com/office/drawing/2014/main" xmlns="" id="{F8841DF6-E419-4E6A-A29B-98DFC9605C1F}"/>
              </a:ext>
            </a:extLst>
          </p:cNvPr>
          <p:cNvSpPr/>
          <p:nvPr/>
        </p:nvSpPr>
        <p:spPr>
          <a:xfrm>
            <a:off x="7951313" y="3267529"/>
            <a:ext cx="968519" cy="9685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9" name="Freeform 282">
            <a:extLst>
              <a:ext uri="{FF2B5EF4-FFF2-40B4-BE49-F238E27FC236}">
                <a16:creationId xmlns:a16="http://schemas.microsoft.com/office/drawing/2014/main" xmlns="" id="{50A92525-86A1-40EA-826E-8D9D1ECA95DB}"/>
              </a:ext>
            </a:extLst>
          </p:cNvPr>
          <p:cNvSpPr>
            <a:spLocks noChangeAspect="1"/>
          </p:cNvSpPr>
          <p:nvPr/>
        </p:nvSpPr>
        <p:spPr bwMode="auto">
          <a:xfrm>
            <a:off x="8231927" y="3546256"/>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600" dirty="0"/>
          </a:p>
        </p:txBody>
      </p:sp>
      <p:sp>
        <p:nvSpPr>
          <p:cNvPr id="50" name="Oval 11">
            <a:extLst>
              <a:ext uri="{FF2B5EF4-FFF2-40B4-BE49-F238E27FC236}">
                <a16:creationId xmlns:a16="http://schemas.microsoft.com/office/drawing/2014/main" xmlns="" id="{0E7235BF-4B45-439B-B230-26D0F9055693}"/>
              </a:ext>
            </a:extLst>
          </p:cNvPr>
          <p:cNvSpPr/>
          <p:nvPr/>
        </p:nvSpPr>
        <p:spPr>
          <a:xfrm>
            <a:off x="6666140" y="2241926"/>
            <a:ext cx="968519" cy="9685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51" name="Freeform 954">
            <a:extLst>
              <a:ext uri="{FF2B5EF4-FFF2-40B4-BE49-F238E27FC236}">
                <a16:creationId xmlns:a16="http://schemas.microsoft.com/office/drawing/2014/main" xmlns="" id="{437B0A34-5B92-4B02-AB25-5D7C3FCDEDA4}"/>
              </a:ext>
            </a:extLst>
          </p:cNvPr>
          <p:cNvSpPr>
            <a:spLocks noChangeAspect="1"/>
          </p:cNvSpPr>
          <p:nvPr/>
        </p:nvSpPr>
        <p:spPr bwMode="auto">
          <a:xfrm>
            <a:off x="6946125" y="2521911"/>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600" dirty="0"/>
          </a:p>
        </p:txBody>
      </p:sp>
      <p:sp>
        <p:nvSpPr>
          <p:cNvPr id="53" name="Subtitle 2">
            <a:extLst>
              <a:ext uri="{FF2B5EF4-FFF2-40B4-BE49-F238E27FC236}">
                <a16:creationId xmlns:a16="http://schemas.microsoft.com/office/drawing/2014/main" xmlns="" id="{4E79DDAA-2D4D-447E-BBAA-883C7E0D2CC9}"/>
              </a:ext>
            </a:extLst>
          </p:cNvPr>
          <p:cNvSpPr txBox="1">
            <a:spLocks/>
          </p:cNvSpPr>
          <p:nvPr/>
        </p:nvSpPr>
        <p:spPr>
          <a:xfrm>
            <a:off x="9118295" y="2974941"/>
            <a:ext cx="1940537"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geeignete Ziele ableiten und für die Belegschaft festlegen</a:t>
            </a:r>
          </a:p>
        </p:txBody>
      </p:sp>
      <p:sp>
        <p:nvSpPr>
          <p:cNvPr id="55" name="Subtitle 2">
            <a:extLst>
              <a:ext uri="{FF2B5EF4-FFF2-40B4-BE49-F238E27FC236}">
                <a16:creationId xmlns:a16="http://schemas.microsoft.com/office/drawing/2014/main" xmlns="" id="{1D5B14D5-CE68-4515-A196-24A70F7D6D21}"/>
              </a:ext>
            </a:extLst>
          </p:cNvPr>
          <p:cNvSpPr txBox="1">
            <a:spLocks/>
          </p:cNvSpPr>
          <p:nvPr/>
        </p:nvSpPr>
        <p:spPr>
          <a:xfrm>
            <a:off x="3159817" y="3617381"/>
            <a:ext cx="1940537"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n </a:t>
            </a:r>
            <a:r>
              <a:rPr lang="en-GB" sz="1800" dirty="0" err="1">
                <a:solidFill>
                  <a:srgbClr val="245473"/>
                </a:solidFill>
                <a:latin typeface="+mj-lt"/>
                <a:ea typeface="Lato Light" panose="020F0502020204030203" pitchFamily="34" charset="0"/>
                <a:cs typeface="Mukta ExtraLight" panose="020B0000000000000000" pitchFamily="34" charset="77"/>
              </a:rPr>
              <a:t>ständig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Änderungs-anforderungen</a:t>
            </a:r>
            <a:r>
              <a:rPr lang="en-GB" sz="1800" dirty="0">
                <a:solidFill>
                  <a:srgbClr val="245473"/>
                </a:solidFill>
                <a:latin typeface="+mj-lt"/>
                <a:ea typeface="Lato Light" panose="020F0502020204030203" pitchFamily="34" charset="0"/>
                <a:cs typeface="Mukta ExtraLight" panose="020B0000000000000000" pitchFamily="34" charset="77"/>
              </a:rPr>
              <a:t> des Unternehmens gerecht zu werden</a:t>
            </a:r>
          </a:p>
        </p:txBody>
      </p:sp>
      <p:sp>
        <p:nvSpPr>
          <p:cNvPr id="57" name="Subtitle 2">
            <a:extLst>
              <a:ext uri="{FF2B5EF4-FFF2-40B4-BE49-F238E27FC236}">
                <a16:creationId xmlns:a16="http://schemas.microsoft.com/office/drawing/2014/main" xmlns="" id="{4D6AECCD-62E8-4EFB-94F4-3D92B0888DEE}"/>
              </a:ext>
            </a:extLst>
          </p:cNvPr>
          <p:cNvSpPr txBox="1">
            <a:spLocks/>
          </p:cNvSpPr>
          <p:nvPr/>
        </p:nvSpPr>
        <p:spPr>
          <a:xfrm>
            <a:off x="8682719" y="4951734"/>
            <a:ext cx="2856138"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as notwendige Vertrauen seiner internen und externen Stakeholder zu gewinnen</a:t>
            </a:r>
          </a:p>
        </p:txBody>
      </p:sp>
      <p:sp>
        <p:nvSpPr>
          <p:cNvPr id="59" name="Subtitle 2">
            <a:extLst>
              <a:ext uri="{FF2B5EF4-FFF2-40B4-BE49-F238E27FC236}">
                <a16:creationId xmlns:a16="http://schemas.microsoft.com/office/drawing/2014/main" xmlns="" id="{DE4507BB-C188-4784-9874-5CDBC3F09A61}"/>
              </a:ext>
            </a:extLst>
          </p:cNvPr>
          <p:cNvSpPr txBox="1">
            <a:spLocks/>
          </p:cNvSpPr>
          <p:nvPr/>
        </p:nvSpPr>
        <p:spPr>
          <a:xfrm>
            <a:off x="3410466" y="5150615"/>
            <a:ext cx="2168652"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ine starke Unternehmenskultur durch Vorbilder und Beispiele zu prägen</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2835378" y="1824689"/>
            <a:ext cx="2871068"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dem</a:t>
            </a:r>
            <a:r>
              <a:rPr lang="en-GB" sz="1800" dirty="0">
                <a:solidFill>
                  <a:srgbClr val="245473"/>
                </a:solidFill>
                <a:latin typeface="+mj-lt"/>
                <a:ea typeface="Lato Light" panose="020F0502020204030203" pitchFamily="34" charset="0"/>
                <a:cs typeface="Mukta ExtraLight" panose="020B0000000000000000" pitchFamily="34" charset="77"/>
              </a:rPr>
              <a:t> Unternehmensleitbild entsprechend den Markt- und Wettbewerbsanforderungen zu präzisieren und weiterzuentwickeln</a:t>
            </a:r>
          </a:p>
        </p:txBody>
      </p:sp>
      <p:sp>
        <p:nvSpPr>
          <p:cNvPr id="31" name="Textplatzhalter 1">
            <a:extLst>
              <a:ext uri="{FF2B5EF4-FFF2-40B4-BE49-F238E27FC236}">
                <a16:creationId xmlns:a16="http://schemas.microsoft.com/office/drawing/2014/main" xmlns="" id="{F54CB693-4493-458A-9DBD-F0E7945F664D}"/>
              </a:ext>
            </a:extLst>
          </p:cNvPr>
          <p:cNvSpPr>
            <a:spLocks noGrp="1"/>
          </p:cNvSpPr>
          <p:nvPr>
            <p:ph type="body" sz="quarter" idx="13"/>
          </p:nvPr>
        </p:nvSpPr>
        <p:spPr>
          <a:xfrm>
            <a:off x="1528305" y="528794"/>
            <a:ext cx="8852375" cy="697353"/>
          </a:xfrm>
        </p:spPr>
        <p:txBody>
          <a:bodyPr>
            <a:normAutofit/>
          </a:bodyPr>
          <a:lstStyle/>
          <a:p>
            <a:r>
              <a:rPr lang="en-GB" dirty="0"/>
              <a:t>Strategie </a:t>
            </a:r>
            <a:r>
              <a:rPr lang="en-GB" dirty="0" err="1"/>
              <a:t>zur</a:t>
            </a:r>
            <a:r>
              <a:rPr lang="en-GB" dirty="0"/>
              <a:t> </a:t>
            </a:r>
            <a:r>
              <a:rPr lang="en-GB" dirty="0" err="1"/>
              <a:t>Krisenbewältigung</a:t>
            </a:r>
            <a:r>
              <a:rPr lang="en-GB" dirty="0"/>
              <a:t> (Forts.)</a:t>
            </a:r>
          </a:p>
        </p:txBody>
      </p:sp>
    </p:spTree>
    <p:extLst>
      <p:ext uri="{BB962C8B-B14F-4D97-AF65-F5344CB8AC3E}">
        <p14:creationId xmlns:p14="http://schemas.microsoft.com/office/powerpoint/2010/main" val="4174632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18211" y="2842770"/>
            <a:ext cx="9821959" cy="1582271"/>
          </a:xfrm>
        </p:spPr>
        <p:txBody>
          <a:bodyPr/>
          <a:lstStyle/>
          <a:p>
            <a:r>
              <a:rPr lang="en-GB" dirty="0"/>
              <a:t>Finanzielle Restrukturierung</a:t>
            </a:r>
          </a:p>
        </p:txBody>
      </p:sp>
    </p:spTree>
    <p:extLst>
      <p:ext uri="{BB962C8B-B14F-4D97-AF65-F5344CB8AC3E}">
        <p14:creationId xmlns:p14="http://schemas.microsoft.com/office/powerpoint/2010/main" val="37200504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Pfeil: nach rechts 14">
            <a:extLst>
              <a:ext uri="{FF2B5EF4-FFF2-40B4-BE49-F238E27FC236}">
                <a16:creationId xmlns:a16="http://schemas.microsoft.com/office/drawing/2014/main" xmlns="" id="{526B4135-23D6-4306-8400-BB39290940B0}"/>
              </a:ext>
            </a:extLst>
          </p:cNvPr>
          <p:cNvSpPr/>
          <p:nvPr/>
        </p:nvSpPr>
        <p:spPr>
          <a:xfrm rot="17851772">
            <a:off x="5084492" y="3730887"/>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2495" y="821741"/>
            <a:ext cx="8852375" cy="697353"/>
          </a:xfrm>
        </p:spPr>
        <p:txBody>
          <a:bodyPr>
            <a:normAutofit/>
          </a:bodyPr>
          <a:lstStyle/>
          <a:p>
            <a:r>
              <a:rPr lang="en-GB" dirty="0"/>
              <a:t>Phasen der finanziellen Umstrukturieru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9542" y="2016146"/>
            <a:ext cx="3078924" cy="471441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Financial Restructuring fokussiert auf zwei unterschiedliche Ziele: </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Operative Restrukturierung</a:t>
            </a:r>
            <a:r>
              <a:rPr lang="en-GB" sz="2200" dirty="0">
                <a:solidFill>
                  <a:srgbClr val="245473"/>
                </a:solidFill>
                <a:latin typeface="+mj-lt"/>
                <a:ea typeface="Open Sans Light" panose="020B0306030504020204" pitchFamily="34" charset="0"/>
                <a:cs typeface="Open Sans Light" panose="020B0306030504020204" pitchFamily="34" charset="0"/>
              </a:rPr>
              <a:t>: tragfähiges und realisierbares Geschäftsmodell</a:t>
            </a:r>
          </a:p>
          <a:p>
            <a:pPr marL="457200" indent="-457200" algn="l">
              <a:lnSpc>
                <a:spcPct val="100000"/>
              </a:lnSpc>
              <a:spcBef>
                <a:spcPts val="600"/>
              </a:spcBef>
              <a:buFont typeface="+mj-lt"/>
              <a:buAutoNum type="arabicPeriod"/>
            </a:pPr>
            <a:r>
              <a:rPr lang="en-GB" sz="2200" b="1" dirty="0">
                <a:solidFill>
                  <a:srgbClr val="245473"/>
                </a:solidFill>
                <a:latin typeface="+mj-lt"/>
                <a:ea typeface="Open Sans Light" panose="020B0306030504020204" pitchFamily="34" charset="0"/>
                <a:cs typeface="Open Sans Light" panose="020B0306030504020204" pitchFamily="34" charset="0"/>
              </a:rPr>
              <a:t>Finanzielle Restrukturierung</a:t>
            </a:r>
            <a:r>
              <a:rPr lang="en-GB" sz="2200" dirty="0">
                <a:solidFill>
                  <a:srgbClr val="245473"/>
                </a:solidFill>
                <a:latin typeface="+mj-lt"/>
                <a:ea typeface="Open Sans Light" panose="020B0306030504020204" pitchFamily="34" charset="0"/>
                <a:cs typeface="Open Sans Light" panose="020B0306030504020204" pitchFamily="34" charset="0"/>
              </a:rPr>
              <a:t>: Rendite/</a:t>
            </a:r>
            <a:r>
              <a:rPr lang="en-GB" sz="2200" dirty="0" err="1">
                <a:solidFill>
                  <a:srgbClr val="245473"/>
                </a:solidFill>
                <a:latin typeface="+mj-lt"/>
                <a:ea typeface="Open Sans Light" panose="020B0306030504020204" pitchFamily="34" charset="0"/>
                <a:cs typeface="Open Sans Light" panose="020B0306030504020204" pitchFamily="34" charset="0"/>
              </a:rPr>
              <a:t>Schulden-dienstfähigkeit</a:t>
            </a:r>
            <a:endParaRPr lang="en-GB" sz="2200"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29" name="Group 19">
            <a:extLst>
              <a:ext uri="{FF2B5EF4-FFF2-40B4-BE49-F238E27FC236}">
                <a16:creationId xmlns:a16="http://schemas.microsoft.com/office/drawing/2014/main" xmlns="" id="{C01314D7-E196-4616-9F38-F4BA4D314895}"/>
              </a:ext>
            </a:extLst>
          </p:cNvPr>
          <p:cNvGrpSpPr/>
          <p:nvPr/>
        </p:nvGrpSpPr>
        <p:grpSpPr>
          <a:xfrm flipH="1">
            <a:off x="4133807" y="3783804"/>
            <a:ext cx="1323408" cy="818094"/>
            <a:chOff x="9147968" y="5153471"/>
            <a:chExt cx="5935704" cy="3932801"/>
          </a:xfrm>
        </p:grpSpPr>
        <p:sp>
          <p:nvSpPr>
            <p:cNvPr id="30" name="Freeform 104">
              <a:extLst>
                <a:ext uri="{FF2B5EF4-FFF2-40B4-BE49-F238E27FC236}">
                  <a16:creationId xmlns:a16="http://schemas.microsoft.com/office/drawing/2014/main" xmlns="" id="{A88E5632-6724-4CC5-B3FB-CEE38EF09E12}"/>
                </a:ext>
              </a:extLst>
            </p:cNvPr>
            <p:cNvSpPr>
              <a:spLocks noEditPoints="1"/>
            </p:cNvSpPr>
            <p:nvPr/>
          </p:nvSpPr>
          <p:spPr bwMode="auto">
            <a:xfrm>
              <a:off x="9271762" y="5861311"/>
              <a:ext cx="1453771" cy="2625042"/>
            </a:xfrm>
            <a:custGeom>
              <a:avLst/>
              <a:gdLst>
                <a:gd name="T0" fmla="*/ 81 w 397"/>
                <a:gd name="T1" fmla="*/ 715 h 715"/>
                <a:gd name="T2" fmla="*/ 397 w 397"/>
                <a:gd name="T3" fmla="*/ 715 h 715"/>
                <a:gd name="T4" fmla="*/ 397 w 397"/>
                <a:gd name="T5" fmla="*/ 358 h 715"/>
                <a:gd name="T6" fmla="*/ 397 w 397"/>
                <a:gd name="T7" fmla="*/ 295 h 715"/>
                <a:gd name="T8" fmla="*/ 397 w 397"/>
                <a:gd name="T9" fmla="*/ 84 h 715"/>
                <a:gd name="T10" fmla="*/ 397 w 397"/>
                <a:gd name="T11" fmla="*/ 52 h 715"/>
                <a:gd name="T12" fmla="*/ 397 w 397"/>
                <a:gd name="T13" fmla="*/ 0 h 715"/>
                <a:gd name="T14" fmla="*/ 265 w 397"/>
                <a:gd name="T15" fmla="*/ 0 h 715"/>
                <a:gd name="T16" fmla="*/ 217 w 397"/>
                <a:gd name="T17" fmla="*/ 10 h 715"/>
                <a:gd name="T18" fmla="*/ 176 w 397"/>
                <a:gd name="T19" fmla="*/ 37 h 715"/>
                <a:gd name="T20" fmla="*/ 37 w 397"/>
                <a:gd name="T21" fmla="*/ 179 h 715"/>
                <a:gd name="T22" fmla="*/ 11 w 397"/>
                <a:gd name="T23" fmla="*/ 221 h 715"/>
                <a:gd name="T24" fmla="*/ 0 w 397"/>
                <a:gd name="T25" fmla="*/ 268 h 715"/>
                <a:gd name="T26" fmla="*/ 0 w 397"/>
                <a:gd name="T27" fmla="*/ 610 h 715"/>
                <a:gd name="T28" fmla="*/ 0 w 397"/>
                <a:gd name="T29" fmla="*/ 702 h 715"/>
                <a:gd name="T30" fmla="*/ 81 w 397"/>
                <a:gd name="T31" fmla="*/ 702 h 715"/>
                <a:gd name="T32" fmla="*/ 81 w 397"/>
                <a:gd name="T33" fmla="*/ 715 h 715"/>
                <a:gd name="T34" fmla="*/ 336 w 397"/>
                <a:gd name="T35" fmla="*/ 295 h 715"/>
                <a:gd name="T36" fmla="*/ 81 w 397"/>
                <a:gd name="T37" fmla="*/ 295 h 715"/>
                <a:gd name="T38" fmla="*/ 81 w 397"/>
                <a:gd name="T39" fmla="*/ 270 h 715"/>
                <a:gd name="T40" fmla="*/ 88 w 397"/>
                <a:gd name="T41" fmla="*/ 252 h 715"/>
                <a:gd name="T42" fmla="*/ 249 w 397"/>
                <a:gd name="T43" fmla="*/ 92 h 715"/>
                <a:gd name="T44" fmla="*/ 267 w 397"/>
                <a:gd name="T45" fmla="*/ 84 h 715"/>
                <a:gd name="T46" fmla="*/ 336 w 397"/>
                <a:gd name="T47" fmla="*/ 84 h 715"/>
                <a:gd name="T48" fmla="*/ 336 w 397"/>
                <a:gd name="T49" fmla="*/ 29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7" h="715">
                  <a:moveTo>
                    <a:pt x="81" y="715"/>
                  </a:moveTo>
                  <a:cubicBezTo>
                    <a:pt x="397" y="715"/>
                    <a:pt x="397" y="715"/>
                    <a:pt x="397" y="715"/>
                  </a:cubicBezTo>
                  <a:cubicBezTo>
                    <a:pt x="397" y="358"/>
                    <a:pt x="397" y="358"/>
                    <a:pt x="397" y="358"/>
                  </a:cubicBezTo>
                  <a:cubicBezTo>
                    <a:pt x="397" y="295"/>
                    <a:pt x="397" y="295"/>
                    <a:pt x="397" y="295"/>
                  </a:cubicBezTo>
                  <a:cubicBezTo>
                    <a:pt x="397" y="84"/>
                    <a:pt x="397" y="84"/>
                    <a:pt x="397" y="84"/>
                  </a:cubicBezTo>
                  <a:cubicBezTo>
                    <a:pt x="397" y="52"/>
                    <a:pt x="397" y="52"/>
                    <a:pt x="397" y="52"/>
                  </a:cubicBezTo>
                  <a:cubicBezTo>
                    <a:pt x="397" y="0"/>
                    <a:pt x="397" y="0"/>
                    <a:pt x="397" y="0"/>
                  </a:cubicBezTo>
                  <a:cubicBezTo>
                    <a:pt x="265" y="0"/>
                    <a:pt x="265" y="0"/>
                    <a:pt x="265" y="0"/>
                  </a:cubicBezTo>
                  <a:cubicBezTo>
                    <a:pt x="251" y="0"/>
                    <a:pt x="235" y="3"/>
                    <a:pt x="217" y="10"/>
                  </a:cubicBezTo>
                  <a:cubicBezTo>
                    <a:pt x="200" y="18"/>
                    <a:pt x="186" y="26"/>
                    <a:pt x="176" y="37"/>
                  </a:cubicBezTo>
                  <a:cubicBezTo>
                    <a:pt x="37" y="179"/>
                    <a:pt x="37" y="179"/>
                    <a:pt x="37" y="179"/>
                  </a:cubicBezTo>
                  <a:cubicBezTo>
                    <a:pt x="27" y="189"/>
                    <a:pt x="18" y="203"/>
                    <a:pt x="11" y="221"/>
                  </a:cubicBezTo>
                  <a:cubicBezTo>
                    <a:pt x="4" y="238"/>
                    <a:pt x="0" y="254"/>
                    <a:pt x="0" y="268"/>
                  </a:cubicBezTo>
                  <a:cubicBezTo>
                    <a:pt x="0" y="610"/>
                    <a:pt x="0" y="610"/>
                    <a:pt x="0" y="610"/>
                  </a:cubicBezTo>
                  <a:cubicBezTo>
                    <a:pt x="0" y="702"/>
                    <a:pt x="0" y="702"/>
                    <a:pt x="0" y="702"/>
                  </a:cubicBezTo>
                  <a:cubicBezTo>
                    <a:pt x="81" y="702"/>
                    <a:pt x="81" y="702"/>
                    <a:pt x="81" y="702"/>
                  </a:cubicBezTo>
                  <a:cubicBezTo>
                    <a:pt x="81" y="715"/>
                    <a:pt x="81" y="715"/>
                    <a:pt x="81" y="715"/>
                  </a:cubicBezTo>
                  <a:moveTo>
                    <a:pt x="336" y="295"/>
                  </a:moveTo>
                  <a:cubicBezTo>
                    <a:pt x="81" y="295"/>
                    <a:pt x="81" y="295"/>
                    <a:pt x="81" y="295"/>
                  </a:cubicBezTo>
                  <a:cubicBezTo>
                    <a:pt x="81" y="270"/>
                    <a:pt x="81" y="270"/>
                    <a:pt x="81" y="270"/>
                  </a:cubicBezTo>
                  <a:cubicBezTo>
                    <a:pt x="82" y="264"/>
                    <a:pt x="85" y="258"/>
                    <a:pt x="88" y="252"/>
                  </a:cubicBezTo>
                  <a:cubicBezTo>
                    <a:pt x="249" y="92"/>
                    <a:pt x="249" y="92"/>
                    <a:pt x="249" y="92"/>
                  </a:cubicBezTo>
                  <a:cubicBezTo>
                    <a:pt x="253" y="88"/>
                    <a:pt x="259" y="85"/>
                    <a:pt x="267" y="84"/>
                  </a:cubicBezTo>
                  <a:cubicBezTo>
                    <a:pt x="336" y="84"/>
                    <a:pt x="336" y="84"/>
                    <a:pt x="336" y="84"/>
                  </a:cubicBezTo>
                  <a:lnTo>
                    <a:pt x="336" y="295"/>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1" name="Freeform 105">
              <a:extLst>
                <a:ext uri="{FF2B5EF4-FFF2-40B4-BE49-F238E27FC236}">
                  <a16:creationId xmlns:a16="http://schemas.microsoft.com/office/drawing/2014/main" xmlns="" id="{531FB429-A8ED-42D6-ACF6-984197945835}"/>
                </a:ext>
              </a:extLst>
            </p:cNvPr>
            <p:cNvSpPr>
              <a:spLocks/>
            </p:cNvSpPr>
            <p:nvPr/>
          </p:nvSpPr>
          <p:spPr bwMode="auto">
            <a:xfrm>
              <a:off x="10719184" y="5153471"/>
              <a:ext cx="4240695" cy="3332882"/>
            </a:xfrm>
            <a:custGeom>
              <a:avLst/>
              <a:gdLst>
                <a:gd name="T0" fmla="*/ 1142 w 1157"/>
                <a:gd name="T1" fmla="*/ 16 h 908"/>
                <a:gd name="T2" fmla="*/ 1105 w 1157"/>
                <a:gd name="T3" fmla="*/ 0 h 908"/>
                <a:gd name="T4" fmla="*/ 53 w 1157"/>
                <a:gd name="T5" fmla="*/ 0 h 908"/>
                <a:gd name="T6" fmla="*/ 16 w 1157"/>
                <a:gd name="T7" fmla="*/ 16 h 908"/>
                <a:gd name="T8" fmla="*/ 0 w 1157"/>
                <a:gd name="T9" fmla="*/ 53 h 908"/>
                <a:gd name="T10" fmla="*/ 0 w 1157"/>
                <a:gd name="T11" fmla="*/ 149 h 908"/>
                <a:gd name="T12" fmla="*/ 0 w 1157"/>
                <a:gd name="T13" fmla="*/ 172 h 908"/>
                <a:gd name="T14" fmla="*/ 0 w 1157"/>
                <a:gd name="T15" fmla="*/ 277 h 908"/>
                <a:gd name="T16" fmla="*/ 0 w 1157"/>
                <a:gd name="T17" fmla="*/ 488 h 908"/>
                <a:gd name="T18" fmla="*/ 0 w 1157"/>
                <a:gd name="T19" fmla="*/ 908 h 908"/>
                <a:gd name="T20" fmla="*/ 106 w 1157"/>
                <a:gd name="T21" fmla="*/ 908 h 908"/>
                <a:gd name="T22" fmla="*/ 421 w 1157"/>
                <a:gd name="T23" fmla="*/ 908 h 908"/>
                <a:gd name="T24" fmla="*/ 947 w 1157"/>
                <a:gd name="T25" fmla="*/ 908 h 908"/>
                <a:gd name="T26" fmla="*/ 1105 w 1157"/>
                <a:gd name="T27" fmla="*/ 908 h 908"/>
                <a:gd name="T28" fmla="*/ 1142 w 1157"/>
                <a:gd name="T29" fmla="*/ 893 h 908"/>
                <a:gd name="T30" fmla="*/ 1157 w 1157"/>
                <a:gd name="T31" fmla="*/ 856 h 908"/>
                <a:gd name="T32" fmla="*/ 1157 w 1157"/>
                <a:gd name="T33" fmla="*/ 53 h 908"/>
                <a:gd name="T34" fmla="*/ 1142 w 1157"/>
                <a:gd name="T35" fmla="*/ 1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7" h="908">
                  <a:moveTo>
                    <a:pt x="1142" y="16"/>
                  </a:moveTo>
                  <a:cubicBezTo>
                    <a:pt x="1131" y="5"/>
                    <a:pt x="1119" y="0"/>
                    <a:pt x="1105" y="0"/>
                  </a:cubicBezTo>
                  <a:cubicBezTo>
                    <a:pt x="53" y="0"/>
                    <a:pt x="53" y="0"/>
                    <a:pt x="53" y="0"/>
                  </a:cubicBezTo>
                  <a:cubicBezTo>
                    <a:pt x="39" y="0"/>
                    <a:pt x="26" y="5"/>
                    <a:pt x="16" y="16"/>
                  </a:cubicBezTo>
                  <a:cubicBezTo>
                    <a:pt x="6" y="26"/>
                    <a:pt x="0" y="39"/>
                    <a:pt x="0" y="53"/>
                  </a:cubicBezTo>
                  <a:cubicBezTo>
                    <a:pt x="0" y="149"/>
                    <a:pt x="0" y="149"/>
                    <a:pt x="0" y="149"/>
                  </a:cubicBezTo>
                  <a:cubicBezTo>
                    <a:pt x="0" y="172"/>
                    <a:pt x="0" y="172"/>
                    <a:pt x="0" y="172"/>
                  </a:cubicBezTo>
                  <a:cubicBezTo>
                    <a:pt x="0" y="277"/>
                    <a:pt x="0" y="277"/>
                    <a:pt x="0" y="277"/>
                  </a:cubicBezTo>
                  <a:cubicBezTo>
                    <a:pt x="0" y="488"/>
                    <a:pt x="0" y="488"/>
                    <a:pt x="0" y="488"/>
                  </a:cubicBezTo>
                  <a:cubicBezTo>
                    <a:pt x="0" y="908"/>
                    <a:pt x="0" y="908"/>
                    <a:pt x="0" y="908"/>
                  </a:cubicBezTo>
                  <a:cubicBezTo>
                    <a:pt x="106" y="908"/>
                    <a:pt x="106" y="908"/>
                    <a:pt x="106" y="908"/>
                  </a:cubicBezTo>
                  <a:cubicBezTo>
                    <a:pt x="421" y="908"/>
                    <a:pt x="421" y="908"/>
                    <a:pt x="421" y="908"/>
                  </a:cubicBezTo>
                  <a:cubicBezTo>
                    <a:pt x="947" y="908"/>
                    <a:pt x="947" y="908"/>
                    <a:pt x="947" y="908"/>
                  </a:cubicBezTo>
                  <a:cubicBezTo>
                    <a:pt x="1105" y="908"/>
                    <a:pt x="1105" y="908"/>
                    <a:pt x="1105" y="908"/>
                  </a:cubicBezTo>
                  <a:cubicBezTo>
                    <a:pt x="1119" y="908"/>
                    <a:pt x="1131" y="903"/>
                    <a:pt x="1142" y="893"/>
                  </a:cubicBezTo>
                  <a:cubicBezTo>
                    <a:pt x="1152" y="882"/>
                    <a:pt x="1157" y="870"/>
                    <a:pt x="1157" y="856"/>
                  </a:cubicBezTo>
                  <a:cubicBezTo>
                    <a:pt x="1157" y="53"/>
                    <a:pt x="1157" y="53"/>
                    <a:pt x="1157" y="53"/>
                  </a:cubicBezTo>
                  <a:cubicBezTo>
                    <a:pt x="1157" y="39"/>
                    <a:pt x="1152" y="26"/>
                    <a:pt x="1142" y="16"/>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2" name="Freeform 106">
              <a:extLst>
                <a:ext uri="{FF2B5EF4-FFF2-40B4-BE49-F238E27FC236}">
                  <a16:creationId xmlns:a16="http://schemas.microsoft.com/office/drawing/2014/main" xmlns="" id="{B443DE50-BA9B-460A-A652-D0F8510F1834}"/>
                </a:ext>
              </a:extLst>
            </p:cNvPr>
            <p:cNvSpPr>
              <a:spLocks/>
            </p:cNvSpPr>
            <p:nvPr/>
          </p:nvSpPr>
          <p:spPr bwMode="auto">
            <a:xfrm>
              <a:off x="10027215" y="7245249"/>
              <a:ext cx="491998" cy="101574"/>
            </a:xfrm>
            <a:custGeom>
              <a:avLst/>
              <a:gdLst>
                <a:gd name="T0" fmla="*/ 134 w 134"/>
                <a:gd name="T1" fmla="*/ 14 h 28"/>
                <a:gd name="T2" fmla="*/ 120 w 134"/>
                <a:gd name="T3" fmla="*/ 28 h 28"/>
                <a:gd name="T4" fmla="*/ 14 w 134"/>
                <a:gd name="T5" fmla="*/ 28 h 28"/>
                <a:gd name="T6" fmla="*/ 0 w 134"/>
                <a:gd name="T7" fmla="*/ 14 h 28"/>
                <a:gd name="T8" fmla="*/ 14 w 134"/>
                <a:gd name="T9" fmla="*/ 0 h 28"/>
                <a:gd name="T10" fmla="*/ 120 w 134"/>
                <a:gd name="T11" fmla="*/ 0 h 28"/>
                <a:gd name="T12" fmla="*/ 134 w 134"/>
                <a:gd name="T13" fmla="*/ 14 h 28"/>
              </a:gdLst>
              <a:ahLst/>
              <a:cxnLst>
                <a:cxn ang="0">
                  <a:pos x="T0" y="T1"/>
                </a:cxn>
                <a:cxn ang="0">
                  <a:pos x="T2" y="T3"/>
                </a:cxn>
                <a:cxn ang="0">
                  <a:pos x="T4" y="T5"/>
                </a:cxn>
                <a:cxn ang="0">
                  <a:pos x="T6" y="T7"/>
                </a:cxn>
                <a:cxn ang="0">
                  <a:pos x="T8" y="T9"/>
                </a:cxn>
                <a:cxn ang="0">
                  <a:pos x="T10" y="T11"/>
                </a:cxn>
                <a:cxn ang="0">
                  <a:pos x="T12" y="T13"/>
                </a:cxn>
              </a:cxnLst>
              <a:rect l="0" t="0" r="r" b="b"/>
              <a:pathLst>
                <a:path w="134" h="28">
                  <a:moveTo>
                    <a:pt x="134" y="14"/>
                  </a:moveTo>
                  <a:cubicBezTo>
                    <a:pt x="134" y="22"/>
                    <a:pt x="127" y="28"/>
                    <a:pt x="120" y="28"/>
                  </a:cubicBezTo>
                  <a:cubicBezTo>
                    <a:pt x="14" y="28"/>
                    <a:pt x="14" y="28"/>
                    <a:pt x="14" y="28"/>
                  </a:cubicBezTo>
                  <a:cubicBezTo>
                    <a:pt x="6" y="28"/>
                    <a:pt x="0" y="22"/>
                    <a:pt x="0" y="14"/>
                  </a:cubicBezTo>
                  <a:cubicBezTo>
                    <a:pt x="0" y="6"/>
                    <a:pt x="6" y="0"/>
                    <a:pt x="14" y="0"/>
                  </a:cubicBezTo>
                  <a:cubicBezTo>
                    <a:pt x="120" y="0"/>
                    <a:pt x="120" y="0"/>
                    <a:pt x="120" y="0"/>
                  </a:cubicBezTo>
                  <a:cubicBezTo>
                    <a:pt x="127" y="0"/>
                    <a:pt x="134" y="6"/>
                    <a:pt x="134" y="14"/>
                  </a:cubicBezTo>
                  <a:close/>
                </a:path>
              </a:pathLst>
            </a:cu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3" name="Oval 107">
              <a:extLst>
                <a:ext uri="{FF2B5EF4-FFF2-40B4-BE49-F238E27FC236}">
                  <a16:creationId xmlns:a16="http://schemas.microsoft.com/office/drawing/2014/main" xmlns="" id="{50327453-A0C8-4C9C-A723-F5A62964C464}"/>
                </a:ext>
              </a:extLst>
            </p:cNvPr>
            <p:cNvSpPr>
              <a:spLocks noChangeArrowheads="1"/>
            </p:cNvSpPr>
            <p:nvPr/>
          </p:nvSpPr>
          <p:spPr bwMode="auto">
            <a:xfrm>
              <a:off x="11801576" y="5724822"/>
              <a:ext cx="1958466" cy="19648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34" name="Freeform 108">
              <a:extLst>
                <a:ext uri="{FF2B5EF4-FFF2-40B4-BE49-F238E27FC236}">
                  <a16:creationId xmlns:a16="http://schemas.microsoft.com/office/drawing/2014/main" xmlns="" id="{537DCA4C-4D2D-4D1D-AE30-09FF1596835C}"/>
                </a:ext>
              </a:extLst>
            </p:cNvPr>
            <p:cNvSpPr>
              <a:spLocks/>
            </p:cNvSpPr>
            <p:nvPr/>
          </p:nvSpPr>
          <p:spPr bwMode="auto">
            <a:xfrm>
              <a:off x="12217395" y="6143813"/>
              <a:ext cx="1126832" cy="1126832"/>
            </a:xfrm>
            <a:custGeom>
              <a:avLst/>
              <a:gdLst>
                <a:gd name="T0" fmla="*/ 294 w 307"/>
                <a:gd name="T1" fmla="*/ 107 h 307"/>
                <a:gd name="T2" fmla="*/ 201 w 307"/>
                <a:gd name="T3" fmla="*/ 107 h 307"/>
                <a:gd name="T4" fmla="*/ 201 w 307"/>
                <a:gd name="T5" fmla="*/ 13 h 307"/>
                <a:gd name="T6" fmla="*/ 187 w 307"/>
                <a:gd name="T7" fmla="*/ 0 h 307"/>
                <a:gd name="T8" fmla="*/ 120 w 307"/>
                <a:gd name="T9" fmla="*/ 0 h 307"/>
                <a:gd name="T10" fmla="*/ 107 w 307"/>
                <a:gd name="T11" fmla="*/ 13 h 307"/>
                <a:gd name="T12" fmla="*/ 107 w 307"/>
                <a:gd name="T13" fmla="*/ 107 h 307"/>
                <a:gd name="T14" fmla="*/ 14 w 307"/>
                <a:gd name="T15" fmla="*/ 107 h 307"/>
                <a:gd name="T16" fmla="*/ 0 w 307"/>
                <a:gd name="T17" fmla="*/ 120 h 307"/>
                <a:gd name="T18" fmla="*/ 0 w 307"/>
                <a:gd name="T19" fmla="*/ 187 h 307"/>
                <a:gd name="T20" fmla="*/ 14 w 307"/>
                <a:gd name="T21" fmla="*/ 200 h 307"/>
                <a:gd name="T22" fmla="*/ 107 w 307"/>
                <a:gd name="T23" fmla="*/ 200 h 307"/>
                <a:gd name="T24" fmla="*/ 107 w 307"/>
                <a:gd name="T25" fmla="*/ 294 h 307"/>
                <a:gd name="T26" fmla="*/ 120 w 307"/>
                <a:gd name="T27" fmla="*/ 307 h 307"/>
                <a:gd name="T28" fmla="*/ 187 w 307"/>
                <a:gd name="T29" fmla="*/ 307 h 307"/>
                <a:gd name="T30" fmla="*/ 201 w 307"/>
                <a:gd name="T31" fmla="*/ 294 h 307"/>
                <a:gd name="T32" fmla="*/ 201 w 307"/>
                <a:gd name="T33" fmla="*/ 200 h 307"/>
                <a:gd name="T34" fmla="*/ 294 w 307"/>
                <a:gd name="T35" fmla="*/ 200 h 307"/>
                <a:gd name="T36" fmla="*/ 307 w 307"/>
                <a:gd name="T37" fmla="*/ 187 h 307"/>
                <a:gd name="T38" fmla="*/ 307 w 307"/>
                <a:gd name="T39" fmla="*/ 120 h 307"/>
                <a:gd name="T40" fmla="*/ 294 w 307"/>
                <a:gd name="T41" fmla="*/ 10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7" h="307">
                  <a:moveTo>
                    <a:pt x="294" y="107"/>
                  </a:moveTo>
                  <a:cubicBezTo>
                    <a:pt x="201" y="107"/>
                    <a:pt x="201" y="107"/>
                    <a:pt x="201" y="107"/>
                  </a:cubicBezTo>
                  <a:cubicBezTo>
                    <a:pt x="201" y="13"/>
                    <a:pt x="201" y="13"/>
                    <a:pt x="201" y="13"/>
                  </a:cubicBezTo>
                  <a:cubicBezTo>
                    <a:pt x="201" y="6"/>
                    <a:pt x="195" y="0"/>
                    <a:pt x="187" y="0"/>
                  </a:cubicBezTo>
                  <a:cubicBezTo>
                    <a:pt x="120" y="0"/>
                    <a:pt x="120" y="0"/>
                    <a:pt x="120" y="0"/>
                  </a:cubicBezTo>
                  <a:cubicBezTo>
                    <a:pt x="113" y="0"/>
                    <a:pt x="107" y="6"/>
                    <a:pt x="107" y="13"/>
                  </a:cubicBezTo>
                  <a:cubicBezTo>
                    <a:pt x="107" y="107"/>
                    <a:pt x="107" y="107"/>
                    <a:pt x="107" y="107"/>
                  </a:cubicBezTo>
                  <a:cubicBezTo>
                    <a:pt x="14" y="107"/>
                    <a:pt x="14" y="107"/>
                    <a:pt x="14" y="107"/>
                  </a:cubicBezTo>
                  <a:cubicBezTo>
                    <a:pt x="6" y="107"/>
                    <a:pt x="0" y="113"/>
                    <a:pt x="0" y="120"/>
                  </a:cubicBezTo>
                  <a:cubicBezTo>
                    <a:pt x="0" y="187"/>
                    <a:pt x="0" y="187"/>
                    <a:pt x="0" y="187"/>
                  </a:cubicBezTo>
                  <a:cubicBezTo>
                    <a:pt x="0" y="194"/>
                    <a:pt x="6" y="200"/>
                    <a:pt x="14" y="200"/>
                  </a:cubicBezTo>
                  <a:cubicBezTo>
                    <a:pt x="107" y="200"/>
                    <a:pt x="107" y="200"/>
                    <a:pt x="107" y="200"/>
                  </a:cubicBezTo>
                  <a:cubicBezTo>
                    <a:pt x="107" y="294"/>
                    <a:pt x="107" y="294"/>
                    <a:pt x="107" y="294"/>
                  </a:cubicBezTo>
                  <a:cubicBezTo>
                    <a:pt x="107" y="301"/>
                    <a:pt x="113" y="307"/>
                    <a:pt x="120" y="307"/>
                  </a:cubicBezTo>
                  <a:cubicBezTo>
                    <a:pt x="187" y="307"/>
                    <a:pt x="187" y="307"/>
                    <a:pt x="187" y="307"/>
                  </a:cubicBezTo>
                  <a:cubicBezTo>
                    <a:pt x="195" y="307"/>
                    <a:pt x="201" y="301"/>
                    <a:pt x="201" y="294"/>
                  </a:cubicBezTo>
                  <a:cubicBezTo>
                    <a:pt x="201" y="200"/>
                    <a:pt x="201" y="200"/>
                    <a:pt x="201" y="200"/>
                  </a:cubicBezTo>
                  <a:cubicBezTo>
                    <a:pt x="294" y="200"/>
                    <a:pt x="294" y="200"/>
                    <a:pt x="294" y="200"/>
                  </a:cubicBezTo>
                  <a:cubicBezTo>
                    <a:pt x="301" y="200"/>
                    <a:pt x="307" y="194"/>
                    <a:pt x="307" y="187"/>
                  </a:cubicBezTo>
                  <a:cubicBezTo>
                    <a:pt x="307" y="120"/>
                    <a:pt x="307" y="120"/>
                    <a:pt x="307" y="120"/>
                  </a:cubicBezTo>
                  <a:cubicBezTo>
                    <a:pt x="307" y="113"/>
                    <a:pt x="301" y="107"/>
                    <a:pt x="294" y="107"/>
                  </a:cubicBezTo>
                  <a:close/>
                </a:path>
              </a:pathLst>
            </a:custGeom>
            <a:solidFill>
              <a:srgbClr val="F15B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2" name="Freeform 109">
              <a:extLst>
                <a:ext uri="{FF2B5EF4-FFF2-40B4-BE49-F238E27FC236}">
                  <a16:creationId xmlns:a16="http://schemas.microsoft.com/office/drawing/2014/main" xmlns="" id="{D21437F2-7788-475D-A847-654AFFC9E153}"/>
                </a:ext>
              </a:extLst>
            </p:cNvPr>
            <p:cNvSpPr>
              <a:spLocks/>
            </p:cNvSpPr>
            <p:nvPr/>
          </p:nvSpPr>
          <p:spPr bwMode="auto">
            <a:xfrm>
              <a:off x="9147968" y="8295902"/>
              <a:ext cx="5935704" cy="190450"/>
            </a:xfrm>
            <a:custGeom>
              <a:avLst/>
              <a:gdLst>
                <a:gd name="T0" fmla="*/ 1620 w 1620"/>
                <a:gd name="T1" fmla="*/ 26 h 52"/>
                <a:gd name="T2" fmla="*/ 1594 w 1620"/>
                <a:gd name="T3" fmla="*/ 52 h 52"/>
                <a:gd name="T4" fmla="*/ 27 w 1620"/>
                <a:gd name="T5" fmla="*/ 52 h 52"/>
                <a:gd name="T6" fmla="*/ 0 w 1620"/>
                <a:gd name="T7" fmla="*/ 26 h 52"/>
                <a:gd name="T8" fmla="*/ 27 w 1620"/>
                <a:gd name="T9" fmla="*/ 0 h 52"/>
                <a:gd name="T10" fmla="*/ 1594 w 1620"/>
                <a:gd name="T11" fmla="*/ 0 h 52"/>
                <a:gd name="T12" fmla="*/ 1620 w 1620"/>
                <a:gd name="T13" fmla="*/ 26 h 52"/>
              </a:gdLst>
              <a:ahLst/>
              <a:cxnLst>
                <a:cxn ang="0">
                  <a:pos x="T0" y="T1"/>
                </a:cxn>
                <a:cxn ang="0">
                  <a:pos x="T2" y="T3"/>
                </a:cxn>
                <a:cxn ang="0">
                  <a:pos x="T4" y="T5"/>
                </a:cxn>
                <a:cxn ang="0">
                  <a:pos x="T6" y="T7"/>
                </a:cxn>
                <a:cxn ang="0">
                  <a:pos x="T8" y="T9"/>
                </a:cxn>
                <a:cxn ang="0">
                  <a:pos x="T10" y="T11"/>
                </a:cxn>
                <a:cxn ang="0">
                  <a:pos x="T12" y="T13"/>
                </a:cxn>
              </a:cxnLst>
              <a:rect l="0" t="0" r="r" b="b"/>
              <a:pathLst>
                <a:path w="1620" h="52">
                  <a:moveTo>
                    <a:pt x="1620" y="26"/>
                  </a:moveTo>
                  <a:cubicBezTo>
                    <a:pt x="1620" y="41"/>
                    <a:pt x="1608" y="52"/>
                    <a:pt x="1594" y="52"/>
                  </a:cubicBezTo>
                  <a:cubicBezTo>
                    <a:pt x="27" y="52"/>
                    <a:pt x="27" y="52"/>
                    <a:pt x="27" y="52"/>
                  </a:cubicBezTo>
                  <a:cubicBezTo>
                    <a:pt x="12" y="52"/>
                    <a:pt x="0" y="41"/>
                    <a:pt x="0" y="26"/>
                  </a:cubicBezTo>
                  <a:cubicBezTo>
                    <a:pt x="0" y="11"/>
                    <a:pt x="12" y="0"/>
                    <a:pt x="27" y="0"/>
                  </a:cubicBezTo>
                  <a:cubicBezTo>
                    <a:pt x="1594" y="0"/>
                    <a:pt x="1594" y="0"/>
                    <a:pt x="1594" y="0"/>
                  </a:cubicBezTo>
                  <a:cubicBezTo>
                    <a:pt x="1608" y="0"/>
                    <a:pt x="1620" y="11"/>
                    <a:pt x="1620" y="26"/>
                  </a:cubicBezTo>
                  <a:close/>
                </a:path>
              </a:pathLst>
            </a:custGeom>
            <a:solidFill>
              <a:srgbClr val="B4B4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4" name="Oval 110">
              <a:extLst>
                <a:ext uri="{FF2B5EF4-FFF2-40B4-BE49-F238E27FC236}">
                  <a16:creationId xmlns:a16="http://schemas.microsoft.com/office/drawing/2014/main" xmlns="" id="{2C2C73FE-884C-46E1-A7CB-4A65BC769DEA}"/>
                </a:ext>
              </a:extLst>
            </p:cNvPr>
            <p:cNvSpPr>
              <a:spLocks noChangeArrowheads="1"/>
            </p:cNvSpPr>
            <p:nvPr/>
          </p:nvSpPr>
          <p:spPr bwMode="auto">
            <a:xfrm>
              <a:off x="10125612"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6" name="Oval 111">
              <a:extLst>
                <a:ext uri="{FF2B5EF4-FFF2-40B4-BE49-F238E27FC236}">
                  <a16:creationId xmlns:a16="http://schemas.microsoft.com/office/drawing/2014/main" xmlns="" id="{6C78DFA9-BB51-4F51-9F88-BAF6956964B1}"/>
                </a:ext>
              </a:extLst>
            </p:cNvPr>
            <p:cNvSpPr>
              <a:spLocks noChangeArrowheads="1"/>
            </p:cNvSpPr>
            <p:nvPr/>
          </p:nvSpPr>
          <p:spPr bwMode="auto">
            <a:xfrm>
              <a:off x="10325587" y="7991182"/>
              <a:ext cx="895117"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58" name="Oval 112">
              <a:extLst>
                <a:ext uri="{FF2B5EF4-FFF2-40B4-BE49-F238E27FC236}">
                  <a16:creationId xmlns:a16="http://schemas.microsoft.com/office/drawing/2014/main" xmlns="" id="{63DD5497-D8F0-4473-B27A-7281CAA7F43F}"/>
                </a:ext>
              </a:extLst>
            </p:cNvPr>
            <p:cNvSpPr>
              <a:spLocks noChangeArrowheads="1"/>
            </p:cNvSpPr>
            <p:nvPr/>
          </p:nvSpPr>
          <p:spPr bwMode="auto">
            <a:xfrm>
              <a:off x="10627132"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0" name="Oval 113">
              <a:extLst>
                <a:ext uri="{FF2B5EF4-FFF2-40B4-BE49-F238E27FC236}">
                  <a16:creationId xmlns:a16="http://schemas.microsoft.com/office/drawing/2014/main" xmlns="" id="{E8BB1ED0-F2B0-4475-95CD-4B2E132753CB}"/>
                </a:ext>
              </a:extLst>
            </p:cNvPr>
            <p:cNvSpPr>
              <a:spLocks noChangeArrowheads="1"/>
            </p:cNvSpPr>
            <p:nvPr/>
          </p:nvSpPr>
          <p:spPr bwMode="auto">
            <a:xfrm>
              <a:off x="13112510" y="7788034"/>
              <a:ext cx="1298238" cy="1298238"/>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2" name="Oval 114">
              <a:extLst>
                <a:ext uri="{FF2B5EF4-FFF2-40B4-BE49-F238E27FC236}">
                  <a16:creationId xmlns:a16="http://schemas.microsoft.com/office/drawing/2014/main" xmlns="" id="{65B2C7D8-E80F-4A1E-817F-D0ED9661347A}"/>
                </a:ext>
              </a:extLst>
            </p:cNvPr>
            <p:cNvSpPr>
              <a:spLocks noChangeArrowheads="1"/>
            </p:cNvSpPr>
            <p:nvPr/>
          </p:nvSpPr>
          <p:spPr bwMode="auto">
            <a:xfrm>
              <a:off x="13309310" y="7991182"/>
              <a:ext cx="898292" cy="895117"/>
            </a:xfrm>
            <a:prstGeom prst="ellipse">
              <a:avLst/>
            </a:prstGeom>
            <a:solidFill>
              <a:srgbClr val="EEED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sp>
          <p:nvSpPr>
            <p:cNvPr id="63" name="Oval 115">
              <a:extLst>
                <a:ext uri="{FF2B5EF4-FFF2-40B4-BE49-F238E27FC236}">
                  <a16:creationId xmlns:a16="http://schemas.microsoft.com/office/drawing/2014/main" xmlns="" id="{19159016-EDE8-4FC2-8ED1-3166DAD0A143}"/>
                </a:ext>
              </a:extLst>
            </p:cNvPr>
            <p:cNvSpPr>
              <a:spLocks noChangeArrowheads="1"/>
            </p:cNvSpPr>
            <p:nvPr/>
          </p:nvSpPr>
          <p:spPr bwMode="auto">
            <a:xfrm>
              <a:off x="13610855" y="8289553"/>
              <a:ext cx="295199" cy="295199"/>
            </a:xfrm>
            <a:prstGeom prst="ellipse">
              <a:avLst/>
            </a:prstGeom>
            <a:solidFill>
              <a:srgbClr val="6A87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600" b="1" dirty="0">
                <a:latin typeface="Roboto Bold" charset="0"/>
              </a:endParaRPr>
            </a:p>
          </p:txBody>
        </p:sp>
      </p:grpSp>
      <p:pic>
        <p:nvPicPr>
          <p:cNvPr id="5" name="Grafik 4">
            <a:extLst>
              <a:ext uri="{FF2B5EF4-FFF2-40B4-BE49-F238E27FC236}">
                <a16:creationId xmlns:a16="http://schemas.microsoft.com/office/drawing/2014/main" xmlns="" id="{F6659027-9B9E-47C7-9482-BCBA7AB69EB8}"/>
              </a:ext>
            </a:extLst>
          </p:cNvPr>
          <p:cNvPicPr>
            <a:picLocks noChangeAspect="1"/>
          </p:cNvPicPr>
          <p:nvPr/>
        </p:nvPicPr>
        <p:blipFill rotWithShape="1">
          <a:blip r:embed="rId7">
            <a:duotone>
              <a:schemeClr val="accent1">
                <a:shade val="45000"/>
                <a:satMod val="135000"/>
              </a:schemeClr>
              <a:prstClr val="white"/>
            </a:duotone>
            <a:extLst>
              <a:ext uri="{BEBA8EAE-BF5A-486C-A8C5-ECC9F3942E4B}">
                <a14:imgProps xmlns:a14="http://schemas.microsoft.com/office/drawing/2010/main">
                  <a14:imgLayer r:embed="rId8">
                    <a14:imgEffect>
                      <a14:saturation sat="66000"/>
                    </a14:imgEffect>
                  </a14:imgLayer>
                </a14:imgProps>
              </a:ext>
            </a:extLst>
          </a:blip>
          <a:srcRect l="19753" r="18590"/>
          <a:stretch/>
        </p:blipFill>
        <p:spPr>
          <a:xfrm>
            <a:off x="6642778" y="3637547"/>
            <a:ext cx="1219222" cy="1038153"/>
          </a:xfrm>
          <a:prstGeom prst="rect">
            <a:avLst/>
          </a:prstGeom>
        </p:spPr>
      </p:pic>
      <p:pic>
        <p:nvPicPr>
          <p:cNvPr id="6" name="Grafik 5">
            <a:extLst>
              <a:ext uri="{FF2B5EF4-FFF2-40B4-BE49-F238E27FC236}">
                <a16:creationId xmlns:a16="http://schemas.microsoft.com/office/drawing/2014/main" xmlns="" id="{6AC7452E-227D-489E-96C1-B9145CEE3187}"/>
              </a:ext>
            </a:extLst>
          </p:cNvPr>
          <p:cNvPicPr>
            <a:picLocks noChangeAspect="1"/>
          </p:cNvPicPr>
          <p:nvPr/>
        </p:nvPicPr>
        <p:blipFill>
          <a:blip r:embed="rId9">
            <a:duotone>
              <a:schemeClr val="accent1">
                <a:shade val="45000"/>
                <a:satMod val="135000"/>
              </a:schemeClr>
              <a:prstClr val="white"/>
            </a:duotone>
          </a:blip>
          <a:srcRect/>
          <a:stretch/>
        </p:blipFill>
        <p:spPr>
          <a:xfrm>
            <a:off x="9153592" y="3637547"/>
            <a:ext cx="1139920" cy="1110608"/>
          </a:xfrm>
          <a:prstGeom prst="rect">
            <a:avLst/>
          </a:prstGeom>
        </p:spPr>
      </p:pic>
      <p:cxnSp>
        <p:nvCxnSpPr>
          <p:cNvPr id="8" name="Gerade Verbindung mit Pfeil 7">
            <a:extLst>
              <a:ext uri="{FF2B5EF4-FFF2-40B4-BE49-F238E27FC236}">
                <a16:creationId xmlns:a16="http://schemas.microsoft.com/office/drawing/2014/main" xmlns="" id="{73B8AE03-49A9-4F59-838E-1EF64A26DD63}"/>
              </a:ext>
            </a:extLst>
          </p:cNvPr>
          <p:cNvCxnSpPr>
            <a:cxnSpLocks/>
          </p:cNvCxnSpPr>
          <p:nvPr/>
        </p:nvCxnSpPr>
        <p:spPr>
          <a:xfrm>
            <a:off x="3907404" y="5784348"/>
            <a:ext cx="7156286" cy="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xmlns="" id="{5C0FD038-C346-4D97-8C74-3ABB483EB51E}"/>
              </a:ext>
            </a:extLst>
          </p:cNvPr>
          <p:cNvCxnSpPr>
            <a:cxnSpLocks/>
          </p:cNvCxnSpPr>
          <p:nvPr/>
        </p:nvCxnSpPr>
        <p:spPr>
          <a:xfrm>
            <a:off x="3960565" y="2430825"/>
            <a:ext cx="7753380" cy="0"/>
          </a:xfrm>
          <a:prstGeom prst="straightConnector1">
            <a:avLst/>
          </a:prstGeom>
          <a:ln w="41275">
            <a:solidFill>
              <a:schemeClr val="accent6">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Subtitle 2">
            <a:extLst>
              <a:ext uri="{FF2B5EF4-FFF2-40B4-BE49-F238E27FC236}">
                <a16:creationId xmlns:a16="http://schemas.microsoft.com/office/drawing/2014/main" xmlns="" id="{984E3A67-43DB-47D9-B727-7D54DC663C84}"/>
              </a:ext>
            </a:extLst>
          </p:cNvPr>
          <p:cNvSpPr txBox="1">
            <a:spLocks/>
          </p:cNvSpPr>
          <p:nvPr/>
        </p:nvSpPr>
        <p:spPr>
          <a:xfrm>
            <a:off x="3913135" y="1781099"/>
            <a:ext cx="7655935"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Operative Umstrukturierung: </a:t>
            </a:r>
            <a:r>
              <a:rPr lang="en-GB" sz="2000" dirty="0">
                <a:solidFill>
                  <a:srgbClr val="F95C2C"/>
                </a:solidFill>
                <a:latin typeface="+mj-lt"/>
                <a:ea typeface="Lato Light" panose="020F0502020204030203" pitchFamily="34" charset="0"/>
                <a:cs typeface="Mukta ExtraLight" panose="020B0000000000000000" pitchFamily="34" charset="77"/>
              </a:rPr>
              <a:t>Entwicklung eines nachhaltigen und praktikablen Geschäftsmodells</a:t>
            </a:r>
            <a:endParaRPr lang="en-GB" sz="2000" b="1" dirty="0">
              <a:solidFill>
                <a:srgbClr val="F95C2C"/>
              </a:solidFill>
              <a:latin typeface="+mj-lt"/>
              <a:ea typeface="Lato Light" panose="020F0502020204030203" pitchFamily="34" charset="0"/>
              <a:cs typeface="Mukta ExtraLight" panose="020B0000000000000000" pitchFamily="34" charset="77"/>
            </a:endParaRPr>
          </a:p>
        </p:txBody>
      </p:sp>
      <p:sp>
        <p:nvSpPr>
          <p:cNvPr id="25" name="Subtitle 2">
            <a:extLst>
              <a:ext uri="{FF2B5EF4-FFF2-40B4-BE49-F238E27FC236}">
                <a16:creationId xmlns:a16="http://schemas.microsoft.com/office/drawing/2014/main" xmlns="" id="{9B2C6765-DF53-4D32-8DA8-6318ED402927}"/>
              </a:ext>
            </a:extLst>
          </p:cNvPr>
          <p:cNvSpPr txBox="1">
            <a:spLocks/>
          </p:cNvSpPr>
          <p:nvPr/>
        </p:nvSpPr>
        <p:spPr>
          <a:xfrm>
            <a:off x="3907403" y="5850063"/>
            <a:ext cx="7156285"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b="1" dirty="0">
                <a:solidFill>
                  <a:srgbClr val="F95C2C"/>
                </a:solidFill>
                <a:latin typeface="+mj-lt"/>
                <a:ea typeface="Lato Light" panose="020F0502020204030203" pitchFamily="34" charset="0"/>
                <a:cs typeface="Mukta ExtraLight" panose="020B0000000000000000" pitchFamily="34" charset="77"/>
              </a:rPr>
              <a:t>Finanzielle Restrukturierung: </a:t>
            </a:r>
            <a:r>
              <a:rPr lang="en-GB" sz="1800" dirty="0">
                <a:solidFill>
                  <a:srgbClr val="F95C2C"/>
                </a:solidFill>
                <a:latin typeface="+mj-lt"/>
                <a:ea typeface="Lato Light" panose="020F0502020204030203" pitchFamily="34" charset="0"/>
                <a:cs typeface="Mukta ExtraLight" panose="020B0000000000000000" pitchFamily="34" charset="77"/>
              </a:rPr>
              <a:t>Sicherstellung der Fähigkeit, Erträge zu erwirtschaften und Schulden zu bedienen</a:t>
            </a:r>
          </a:p>
        </p:txBody>
      </p:sp>
      <p:sp>
        <p:nvSpPr>
          <p:cNvPr id="10" name="Rechteck 9">
            <a:extLst>
              <a:ext uri="{FF2B5EF4-FFF2-40B4-BE49-F238E27FC236}">
                <a16:creationId xmlns:a16="http://schemas.microsoft.com/office/drawing/2014/main" xmlns="" id="{A06627C5-88FD-435D-BB87-B92048E4396C}"/>
              </a:ext>
            </a:extLst>
          </p:cNvPr>
          <p:cNvSpPr/>
          <p:nvPr/>
        </p:nvSpPr>
        <p:spPr>
          <a:xfrm>
            <a:off x="3908022" y="5215796"/>
            <a:ext cx="2291038"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Vermeidung der akuten Gefahr einer Insolvenz</a:t>
            </a:r>
            <a:endParaRPr lang="en-GB" sz="1600" dirty="0">
              <a:solidFill>
                <a:schemeClr val="tx2"/>
              </a:solidFill>
            </a:endParaRPr>
          </a:p>
        </p:txBody>
      </p:sp>
      <p:sp>
        <p:nvSpPr>
          <p:cNvPr id="27" name="Rechteck 26">
            <a:extLst>
              <a:ext uri="{FF2B5EF4-FFF2-40B4-BE49-F238E27FC236}">
                <a16:creationId xmlns:a16="http://schemas.microsoft.com/office/drawing/2014/main" xmlns="" id="{EF53EEEF-79F1-4264-B7C1-76A10BA92A62}"/>
              </a:ext>
            </a:extLst>
          </p:cNvPr>
          <p:cNvSpPr/>
          <p:nvPr/>
        </p:nvSpPr>
        <p:spPr>
          <a:xfrm>
            <a:off x="6405338" y="5214192"/>
            <a:ext cx="2326836"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Finanzierung der Umstrukturierungsphase</a:t>
            </a:r>
            <a:endParaRPr lang="en-GB" sz="1600" dirty="0">
              <a:solidFill>
                <a:schemeClr val="tx2"/>
              </a:solidFill>
            </a:endParaRPr>
          </a:p>
        </p:txBody>
      </p:sp>
      <p:sp>
        <p:nvSpPr>
          <p:cNvPr id="28" name="Rechteck 27">
            <a:extLst>
              <a:ext uri="{FF2B5EF4-FFF2-40B4-BE49-F238E27FC236}">
                <a16:creationId xmlns:a16="http://schemas.microsoft.com/office/drawing/2014/main" xmlns="" id="{30C7381B-19C1-4ECB-BEA3-DE9F770B261C}"/>
              </a:ext>
            </a:extLst>
          </p:cNvPr>
          <p:cNvSpPr/>
          <p:nvPr/>
        </p:nvSpPr>
        <p:spPr>
          <a:xfrm>
            <a:off x="8938453" y="5216098"/>
            <a:ext cx="2424004" cy="45674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err="1">
                <a:solidFill>
                  <a:schemeClr val="tx2"/>
                </a:solidFill>
              </a:rPr>
              <a:t>Umstrukturierung</a:t>
            </a:r>
            <a:r>
              <a:rPr lang="en-GB" sz="1600" dirty="0">
                <a:solidFill>
                  <a:schemeClr val="tx2"/>
                </a:solidFill>
              </a:rPr>
              <a:t> der </a:t>
            </a:r>
            <a:r>
              <a:rPr lang="en-GB" sz="1600" dirty="0" err="1">
                <a:solidFill>
                  <a:schemeClr val="tx2"/>
                </a:solidFill>
              </a:rPr>
              <a:t>Finanzierungsseite</a:t>
            </a:r>
            <a:endParaRPr lang="en-GB" sz="1600" dirty="0">
              <a:solidFill>
                <a:schemeClr val="tx2"/>
              </a:solidFill>
            </a:endParaRPr>
          </a:p>
        </p:txBody>
      </p:sp>
      <p:sp>
        <p:nvSpPr>
          <p:cNvPr id="35" name="Rechteck 34">
            <a:extLst>
              <a:ext uri="{FF2B5EF4-FFF2-40B4-BE49-F238E27FC236}">
                <a16:creationId xmlns:a16="http://schemas.microsoft.com/office/drawing/2014/main" xmlns="" id="{8A4B0004-94E4-4748-A797-4D663671AD6C}"/>
              </a:ext>
            </a:extLst>
          </p:cNvPr>
          <p:cNvSpPr/>
          <p:nvPr/>
        </p:nvSpPr>
        <p:spPr>
          <a:xfrm>
            <a:off x="4547547" y="2580039"/>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Kurzfristige Maßnahmen</a:t>
            </a:r>
            <a:endParaRPr lang="en-GB" sz="1600" dirty="0">
              <a:solidFill>
                <a:schemeClr val="tx2"/>
              </a:solidFill>
            </a:endParaRPr>
          </a:p>
        </p:txBody>
      </p:sp>
      <p:sp>
        <p:nvSpPr>
          <p:cNvPr id="36" name="Rechteck 35">
            <a:extLst>
              <a:ext uri="{FF2B5EF4-FFF2-40B4-BE49-F238E27FC236}">
                <a16:creationId xmlns:a16="http://schemas.microsoft.com/office/drawing/2014/main" xmlns="" id="{CC71196F-2C0B-4DCD-9E00-FC75CF1AD994}"/>
              </a:ext>
            </a:extLst>
          </p:cNvPr>
          <p:cNvSpPr/>
          <p:nvPr/>
        </p:nvSpPr>
        <p:spPr>
          <a:xfrm>
            <a:off x="6978380" y="2578435"/>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Mittel- und langfristige Maßnahmen</a:t>
            </a:r>
            <a:endParaRPr lang="en-GB" sz="1600" dirty="0">
              <a:solidFill>
                <a:schemeClr val="tx2"/>
              </a:solidFill>
            </a:endParaRPr>
          </a:p>
        </p:txBody>
      </p:sp>
      <p:sp>
        <p:nvSpPr>
          <p:cNvPr id="37" name="Rechteck 36">
            <a:extLst>
              <a:ext uri="{FF2B5EF4-FFF2-40B4-BE49-F238E27FC236}">
                <a16:creationId xmlns:a16="http://schemas.microsoft.com/office/drawing/2014/main" xmlns="" id="{4A73DF15-608B-4BC8-98BD-F90F6B33AD29}"/>
              </a:ext>
            </a:extLst>
          </p:cNvPr>
          <p:cNvSpPr/>
          <p:nvPr/>
        </p:nvSpPr>
        <p:spPr>
          <a:xfrm>
            <a:off x="9409213" y="2575227"/>
            <a:ext cx="2122273" cy="456742"/>
          </a:xfrm>
          <a:prstGeom prst="rect">
            <a:avLst/>
          </a:prstGeom>
          <a:solidFill>
            <a:schemeClr val="accent6">
              <a:lumMod val="60000"/>
              <a:lumOff val="4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2"/>
                </a:solidFill>
              </a:rPr>
              <a:t>Steuerung und Überwachung</a:t>
            </a:r>
            <a:endParaRPr lang="en-GB" sz="1600" dirty="0">
              <a:solidFill>
                <a:schemeClr val="tx2"/>
              </a:solidFill>
            </a:endParaRPr>
          </a:p>
        </p:txBody>
      </p:sp>
      <p:sp>
        <p:nvSpPr>
          <p:cNvPr id="39" name="Pfeil: nach rechts 38">
            <a:extLst>
              <a:ext uri="{FF2B5EF4-FFF2-40B4-BE49-F238E27FC236}">
                <a16:creationId xmlns:a16="http://schemas.microsoft.com/office/drawing/2014/main" xmlns="" id="{6F8CC65D-E60B-48B9-B839-B5188A172BAD}"/>
              </a:ext>
            </a:extLst>
          </p:cNvPr>
          <p:cNvSpPr/>
          <p:nvPr/>
        </p:nvSpPr>
        <p:spPr>
          <a:xfrm rot="17851772">
            <a:off x="7469346" y="3806219"/>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0" name="Pfeil: nach rechts 39">
            <a:extLst>
              <a:ext uri="{FF2B5EF4-FFF2-40B4-BE49-F238E27FC236}">
                <a16:creationId xmlns:a16="http://schemas.microsoft.com/office/drawing/2014/main" xmlns="" id="{6CF10598-6013-4248-ACD6-86B7163CCC06}"/>
              </a:ext>
            </a:extLst>
          </p:cNvPr>
          <p:cNvSpPr/>
          <p:nvPr/>
        </p:nvSpPr>
        <p:spPr>
          <a:xfrm rot="17851772">
            <a:off x="9952922" y="3844148"/>
            <a:ext cx="1888305" cy="623524"/>
          </a:xfrm>
          <a:prstGeom prst="rightArrow">
            <a:avLst/>
          </a:prstGeom>
          <a:gradFill flip="none" rotWithShape="1">
            <a:gsLst>
              <a:gs pos="0">
                <a:srgbClr val="DAE3F3"/>
              </a:gs>
              <a:gs pos="33000">
                <a:srgbClr val="DAE3F3"/>
              </a:gs>
              <a:gs pos="85000">
                <a:srgbClr val="A9D18E"/>
              </a:gs>
            </a:gsLst>
            <a:lin ang="0" scaled="1"/>
            <a:tileRect/>
          </a:gra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3676010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2558" y="512206"/>
            <a:ext cx="8852375" cy="697353"/>
          </a:xfrm>
        </p:spPr>
        <p:txBody>
          <a:bodyPr>
            <a:normAutofit/>
          </a:bodyPr>
          <a:lstStyle/>
          <a:p>
            <a:r>
              <a:rPr lang="en-GB" dirty="0"/>
              <a:t>Das Dilemma der Gläubiger</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14035" y="1790536"/>
            <a:ext cx="3919829"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hre Gläubiger befinden sich in einem Dilemma, das Sie nutzen können, um Ihre Finanzen zu sanieren:</a:t>
            </a:r>
            <a:endParaRPr lang="en-US" sz="2200" dirty="0">
              <a:solidFill>
                <a:srgbClr val="245473"/>
              </a:solidFill>
            </a:endParaRP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enn Ihre Gläubiger nicht zu Zugeständnissen bereit sind, steigt das Risiko einer Insolvenz oder Liquidation - und damit auch das Risiko des </a:t>
            </a:r>
            <a:r>
              <a:rPr lang="en-GB" sz="2200" dirty="0" err="1">
                <a:solidFill>
                  <a:srgbClr val="245473"/>
                </a:solidFill>
                <a:latin typeface="+mj-lt"/>
                <a:ea typeface="Open Sans Light" panose="020B0306030504020204" pitchFamily="34" charset="0"/>
                <a:cs typeface="Open Sans Light" panose="020B0306030504020204" pitchFamily="34" charset="0"/>
              </a:rPr>
              <a:t>Forderungsverlustes</a:t>
            </a:r>
            <a:r>
              <a:rPr lang="en-GB" sz="2200" dirty="0">
                <a:solidFill>
                  <a:srgbClr val="245473"/>
                </a:solidFill>
                <a:latin typeface="+mj-lt"/>
                <a:ea typeface="Open Sans Light" panose="020B0306030504020204" pitchFamily="34" charset="0"/>
                <a:cs typeface="Open Sans Light" panose="020B0306030504020204" pitchFamily="34" charset="0"/>
              </a:rPr>
              <a:t>.</a:t>
            </a:r>
            <a:endParaRPr lang="en-GB" sz="2200" b="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245473"/>
                </a:solidFill>
                <a:latin typeface="+mj-lt"/>
                <a:ea typeface="Open Sans Light" panose="020B0306030504020204" pitchFamily="34" charset="0"/>
                <a:cs typeface="Open Sans Light" panose="020B0306030504020204" pitchFamily="34" charset="0"/>
              </a:rPr>
              <a:t>Grundsätzlich sollten die Gläubiger daher ein Interesse daran haben, Sie bei der Restrukturierung zu unterstützen</a:t>
            </a:r>
          </a:p>
        </p:txBody>
      </p:sp>
      <p:grpSp>
        <p:nvGrpSpPr>
          <p:cNvPr id="5" name="Gruppieren 4">
            <a:extLst>
              <a:ext uri="{FF2B5EF4-FFF2-40B4-BE49-F238E27FC236}">
                <a16:creationId xmlns:a16="http://schemas.microsoft.com/office/drawing/2014/main" xmlns="" id="{E51342ED-8A45-4D86-AC3E-529B7ADF7128}"/>
              </a:ext>
            </a:extLst>
          </p:cNvPr>
          <p:cNvGrpSpPr/>
          <p:nvPr/>
        </p:nvGrpSpPr>
        <p:grpSpPr>
          <a:xfrm>
            <a:off x="4662123" y="2473203"/>
            <a:ext cx="2105192" cy="3033974"/>
            <a:chOff x="4765425" y="2047169"/>
            <a:chExt cx="2577332" cy="3673338"/>
          </a:xfrm>
        </p:grpSpPr>
        <p:sp>
          <p:nvSpPr>
            <p:cNvPr id="38" name="Shape">
              <a:extLst>
                <a:ext uri="{FF2B5EF4-FFF2-40B4-BE49-F238E27FC236}">
                  <a16:creationId xmlns:a16="http://schemas.microsoft.com/office/drawing/2014/main" xmlns="" id="{2C666C68-4EB9-46F0-977A-F7C78EDC73D0}"/>
                </a:ext>
              </a:extLst>
            </p:cNvPr>
            <p:cNvSpPr/>
            <p:nvPr/>
          </p:nvSpPr>
          <p:spPr>
            <a:xfrm>
              <a:off x="5196900" y="3638443"/>
              <a:ext cx="1898949" cy="364081"/>
            </a:xfrm>
            <a:custGeom>
              <a:avLst/>
              <a:gdLst/>
              <a:ahLst/>
              <a:cxnLst>
                <a:cxn ang="0">
                  <a:pos x="wd2" y="hd2"/>
                </a:cxn>
                <a:cxn ang="5400000">
                  <a:pos x="wd2" y="hd2"/>
                </a:cxn>
                <a:cxn ang="10800000">
                  <a:pos x="wd2" y="hd2"/>
                </a:cxn>
                <a:cxn ang="16200000">
                  <a:pos x="wd2" y="hd2"/>
                </a:cxn>
              </a:cxnLst>
              <a:rect l="0" t="0" r="r" b="b"/>
              <a:pathLst>
                <a:path w="21600" h="21545" extrusionOk="0">
                  <a:moveTo>
                    <a:pt x="19460" y="68"/>
                  </a:moveTo>
                  <a:cubicBezTo>
                    <a:pt x="19219" y="-55"/>
                    <a:pt x="18993" y="-8"/>
                    <a:pt x="18721" y="192"/>
                  </a:cubicBezTo>
                  <a:cubicBezTo>
                    <a:pt x="18449" y="393"/>
                    <a:pt x="18130" y="747"/>
                    <a:pt x="17711" y="1210"/>
                  </a:cubicBezTo>
                  <a:lnTo>
                    <a:pt x="0" y="20943"/>
                  </a:lnTo>
                  <a:cubicBezTo>
                    <a:pt x="141" y="20936"/>
                    <a:pt x="240" y="20901"/>
                    <a:pt x="411" y="20901"/>
                  </a:cubicBezTo>
                  <a:lnTo>
                    <a:pt x="423" y="20901"/>
                  </a:lnTo>
                  <a:lnTo>
                    <a:pt x="19995" y="20901"/>
                  </a:lnTo>
                  <a:cubicBezTo>
                    <a:pt x="20766" y="20901"/>
                    <a:pt x="21185" y="20991"/>
                    <a:pt x="21600" y="21545"/>
                  </a:cubicBezTo>
                  <a:lnTo>
                    <a:pt x="21261" y="13257"/>
                  </a:lnTo>
                  <a:cubicBezTo>
                    <a:pt x="21170" y="11043"/>
                    <a:pt x="21104" y="9381"/>
                    <a:pt x="21029" y="8002"/>
                  </a:cubicBezTo>
                  <a:cubicBezTo>
                    <a:pt x="20954" y="6623"/>
                    <a:pt x="20869" y="5527"/>
                    <a:pt x="20750" y="4430"/>
                  </a:cubicBezTo>
                  <a:cubicBezTo>
                    <a:pt x="20607" y="3242"/>
                    <a:pt x="20419" y="2246"/>
                    <a:pt x="20199" y="1501"/>
                  </a:cubicBezTo>
                  <a:cubicBezTo>
                    <a:pt x="19978" y="756"/>
                    <a:pt x="19726" y="263"/>
                    <a:pt x="19460" y="68"/>
                  </a:cubicBezTo>
                  <a:close/>
                </a:path>
              </a:pathLst>
            </a:cu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Rectangle">
              <a:extLst>
                <a:ext uri="{FF2B5EF4-FFF2-40B4-BE49-F238E27FC236}">
                  <a16:creationId xmlns:a16="http://schemas.microsoft.com/office/drawing/2014/main" xmlns="" id="{E080E570-7466-45DD-8B3F-EE4806BEBD33}"/>
                </a:ext>
              </a:extLst>
            </p:cNvPr>
            <p:cNvSpPr/>
            <p:nvPr/>
          </p:nvSpPr>
          <p:spPr>
            <a:xfrm rot="21300000">
              <a:off x="5469386" y="3462497"/>
              <a:ext cx="840003" cy="1459705"/>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Rectangle">
              <a:extLst>
                <a:ext uri="{FF2B5EF4-FFF2-40B4-BE49-F238E27FC236}">
                  <a16:creationId xmlns:a16="http://schemas.microsoft.com/office/drawing/2014/main" xmlns="" id="{395BA5CF-D296-4ED2-9FAB-51C2FA99DD3E}"/>
                </a:ext>
              </a:extLst>
            </p:cNvPr>
            <p:cNvSpPr/>
            <p:nvPr/>
          </p:nvSpPr>
          <p:spPr>
            <a:xfrm rot="300000">
              <a:off x="5651285" y="3383871"/>
              <a:ext cx="840003" cy="145970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Rectangle">
              <a:extLst>
                <a:ext uri="{FF2B5EF4-FFF2-40B4-BE49-F238E27FC236}">
                  <a16:creationId xmlns:a16="http://schemas.microsoft.com/office/drawing/2014/main" xmlns="" id="{8C4174BB-7899-4E19-9F0F-3F282A3BB299}"/>
                </a:ext>
              </a:extLst>
            </p:cNvPr>
            <p:cNvSpPr/>
            <p:nvPr/>
          </p:nvSpPr>
          <p:spPr>
            <a:xfrm rot="900000">
              <a:off x="5944497" y="3638692"/>
              <a:ext cx="840003" cy="145970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Rounded Rectangle">
              <a:extLst>
                <a:ext uri="{FF2B5EF4-FFF2-40B4-BE49-F238E27FC236}">
                  <a16:creationId xmlns:a16="http://schemas.microsoft.com/office/drawing/2014/main" xmlns="" id="{2EF0D573-3266-4DE3-AB28-D1CAD05E9E4C}"/>
                </a:ext>
              </a:extLst>
            </p:cNvPr>
            <p:cNvSpPr/>
            <p:nvPr/>
          </p:nvSpPr>
          <p:spPr>
            <a:xfrm>
              <a:off x="4969009" y="4040432"/>
              <a:ext cx="2247278" cy="1680075"/>
            </a:xfrm>
            <a:prstGeom prst="roundRect">
              <a:avLst>
                <a:gd name="adj" fmla="val 10233"/>
              </a:avLst>
            </a:prstGeom>
            <a:solidFill>
              <a:schemeClr val="accent1">
                <a:lumMod val="75000"/>
                <a:lumOff val="2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Rounded Rectangle">
              <a:extLst>
                <a:ext uri="{FF2B5EF4-FFF2-40B4-BE49-F238E27FC236}">
                  <a16:creationId xmlns:a16="http://schemas.microsoft.com/office/drawing/2014/main" xmlns="" id="{25054F65-240C-403B-97A3-300CF385B7EC}"/>
                </a:ext>
              </a:extLst>
            </p:cNvPr>
            <p:cNvSpPr/>
            <p:nvPr/>
          </p:nvSpPr>
          <p:spPr>
            <a:xfrm>
              <a:off x="6330334" y="4601173"/>
              <a:ext cx="1012423" cy="558595"/>
            </a:xfrm>
            <a:prstGeom prst="roundRect">
              <a:avLst>
                <a:gd name="adj" fmla="val 10476"/>
              </a:avLst>
            </a:prstGeom>
            <a:solidFill>
              <a:schemeClr val="accent1">
                <a:lumMod val="90000"/>
                <a:lumOff val="10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Circle">
              <a:extLst>
                <a:ext uri="{FF2B5EF4-FFF2-40B4-BE49-F238E27FC236}">
                  <a16:creationId xmlns:a16="http://schemas.microsoft.com/office/drawing/2014/main" xmlns="" id="{01E3B244-ABBD-464C-953B-CFAB86881A4B}"/>
                </a:ext>
              </a:extLst>
            </p:cNvPr>
            <p:cNvSpPr/>
            <p:nvPr/>
          </p:nvSpPr>
          <p:spPr>
            <a:xfrm>
              <a:off x="6438128" y="4798065"/>
              <a:ext cx="164806" cy="164806"/>
            </a:xfrm>
            <a:prstGeom prst="ellipse">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Circle">
              <a:extLst>
                <a:ext uri="{FF2B5EF4-FFF2-40B4-BE49-F238E27FC236}">
                  <a16:creationId xmlns:a16="http://schemas.microsoft.com/office/drawing/2014/main" xmlns="" id="{A1C5F171-541E-4CE1-AEC8-7A2BD0CD2891}"/>
                </a:ext>
              </a:extLst>
            </p:cNvPr>
            <p:cNvSpPr/>
            <p:nvPr/>
          </p:nvSpPr>
          <p:spPr>
            <a:xfrm>
              <a:off x="6505170" y="284254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8" name="Shape">
              <a:extLst>
                <a:ext uri="{FF2B5EF4-FFF2-40B4-BE49-F238E27FC236}">
                  <a16:creationId xmlns:a16="http://schemas.microsoft.com/office/drawing/2014/main" xmlns="" id="{FEDDC97B-A6A7-4F9A-9C33-AF855638D3E3}"/>
                </a:ext>
              </a:extLst>
            </p:cNvPr>
            <p:cNvSpPr/>
            <p:nvPr/>
          </p:nvSpPr>
          <p:spPr>
            <a:xfrm>
              <a:off x="6536982" y="2873083"/>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9" name="Shape">
              <a:extLst>
                <a:ext uri="{FF2B5EF4-FFF2-40B4-BE49-F238E27FC236}">
                  <a16:creationId xmlns:a16="http://schemas.microsoft.com/office/drawing/2014/main" xmlns="" id="{CE5E73C0-A29C-4EDB-BB94-6918E43FB8DD}"/>
                </a:ext>
              </a:extLst>
            </p:cNvPr>
            <p:cNvSpPr/>
            <p:nvPr/>
          </p:nvSpPr>
          <p:spPr>
            <a:xfrm>
              <a:off x="6622808" y="2934529"/>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0" name="Shape">
              <a:extLst>
                <a:ext uri="{FF2B5EF4-FFF2-40B4-BE49-F238E27FC236}">
                  <a16:creationId xmlns:a16="http://schemas.microsoft.com/office/drawing/2014/main" xmlns="" id="{5BC00CE9-EA6D-4243-9914-96074548DBD7}"/>
                </a:ext>
              </a:extLst>
            </p:cNvPr>
            <p:cNvSpPr/>
            <p:nvPr/>
          </p:nvSpPr>
          <p:spPr>
            <a:xfrm>
              <a:off x="4765425" y="3442807"/>
              <a:ext cx="453965" cy="453966"/>
            </a:xfrm>
            <a:custGeom>
              <a:avLst/>
              <a:gdLst/>
              <a:ahLst/>
              <a:cxnLst>
                <a:cxn ang="0">
                  <a:pos x="wd2" y="hd2"/>
                </a:cxn>
                <a:cxn ang="5400000">
                  <a:pos x="wd2" y="hd2"/>
                </a:cxn>
                <a:cxn ang="10800000">
                  <a:pos x="wd2" y="hd2"/>
                </a:cxn>
                <a:cxn ang="16200000">
                  <a:pos x="wd2" y="hd2"/>
                </a:cxn>
              </a:cxnLst>
              <a:rect l="0" t="0" r="r" b="b"/>
              <a:pathLst>
                <a:path w="19144" h="19144" extrusionOk="0">
                  <a:moveTo>
                    <a:pt x="12845" y="580"/>
                  </a:moveTo>
                  <a:cubicBezTo>
                    <a:pt x="7879" y="-1228"/>
                    <a:pt x="2387" y="1333"/>
                    <a:pt x="580" y="6299"/>
                  </a:cubicBezTo>
                  <a:cubicBezTo>
                    <a:pt x="-1228" y="11265"/>
                    <a:pt x="1333" y="16757"/>
                    <a:pt x="6299" y="18564"/>
                  </a:cubicBezTo>
                  <a:cubicBezTo>
                    <a:pt x="11265" y="20372"/>
                    <a:pt x="16757" y="17811"/>
                    <a:pt x="18564" y="12845"/>
                  </a:cubicBezTo>
                  <a:cubicBezTo>
                    <a:pt x="20372" y="7879"/>
                    <a:pt x="17811" y="2387"/>
                    <a:pt x="12845" y="580"/>
                  </a:cubicBezTo>
                  <a:close/>
                </a:path>
              </a:pathLst>
            </a:cu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1" name="Shape">
              <a:extLst>
                <a:ext uri="{FF2B5EF4-FFF2-40B4-BE49-F238E27FC236}">
                  <a16:creationId xmlns:a16="http://schemas.microsoft.com/office/drawing/2014/main" xmlns="" id="{510312A4-C3C5-468B-91BC-96A47E5F7612}"/>
                </a:ext>
              </a:extLst>
            </p:cNvPr>
            <p:cNvSpPr/>
            <p:nvPr/>
          </p:nvSpPr>
          <p:spPr>
            <a:xfrm>
              <a:off x="4797581" y="3473007"/>
              <a:ext cx="389652" cy="393567"/>
            </a:xfrm>
            <a:custGeom>
              <a:avLst/>
              <a:gdLst/>
              <a:ahLst/>
              <a:cxnLst>
                <a:cxn ang="0">
                  <a:pos x="wd2" y="hd2"/>
                </a:cxn>
                <a:cxn ang="5400000">
                  <a:pos x="wd2" y="hd2"/>
                </a:cxn>
                <a:cxn ang="10800000">
                  <a:pos x="wd2" y="hd2"/>
                </a:cxn>
                <a:cxn ang="16200000">
                  <a:pos x="wd2" y="hd2"/>
                </a:cxn>
              </a:cxnLst>
              <a:rect l="0" t="0" r="r" b="b"/>
              <a:pathLst>
                <a:path w="19132" h="19157" extrusionOk="0">
                  <a:moveTo>
                    <a:pt x="12875" y="566"/>
                  </a:moveTo>
                  <a:cubicBezTo>
                    <a:pt x="7919" y="-1222"/>
                    <a:pt x="2421" y="1363"/>
                    <a:pt x="593" y="6340"/>
                  </a:cubicBezTo>
                  <a:cubicBezTo>
                    <a:pt x="-1234" y="11318"/>
                    <a:pt x="1302" y="16802"/>
                    <a:pt x="6257" y="18590"/>
                  </a:cubicBezTo>
                  <a:cubicBezTo>
                    <a:pt x="11213" y="20378"/>
                    <a:pt x="16711" y="17793"/>
                    <a:pt x="18539" y="12816"/>
                  </a:cubicBezTo>
                  <a:cubicBezTo>
                    <a:pt x="20366" y="7838"/>
                    <a:pt x="17830" y="2354"/>
                    <a:pt x="12875" y="566"/>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3" name="Shape">
              <a:extLst>
                <a:ext uri="{FF2B5EF4-FFF2-40B4-BE49-F238E27FC236}">
                  <a16:creationId xmlns:a16="http://schemas.microsoft.com/office/drawing/2014/main" xmlns="" id="{A9C72624-616C-49D3-9FC5-9644D6C845AD}"/>
                </a:ext>
              </a:extLst>
            </p:cNvPr>
            <p:cNvSpPr/>
            <p:nvPr/>
          </p:nvSpPr>
          <p:spPr>
            <a:xfrm>
              <a:off x="4886823" y="3524776"/>
              <a:ext cx="206992" cy="289187"/>
            </a:xfrm>
            <a:custGeom>
              <a:avLst/>
              <a:gdLst/>
              <a:ahLst/>
              <a:cxnLst>
                <a:cxn ang="0">
                  <a:pos x="wd2" y="hd2"/>
                </a:cxn>
                <a:cxn ang="5400000">
                  <a:pos x="wd2" y="hd2"/>
                </a:cxn>
                <a:cxn ang="10800000">
                  <a:pos x="wd2" y="hd2"/>
                </a:cxn>
                <a:cxn ang="16200000">
                  <a:pos x="wd2" y="hd2"/>
                </a:cxn>
              </a:cxnLst>
              <a:rect l="0" t="0" r="r" b="b"/>
              <a:pathLst>
                <a:path w="21600" h="21600" extrusionOk="0">
                  <a:moveTo>
                    <a:pt x="11862" y="14837"/>
                  </a:moveTo>
                  <a:cubicBezTo>
                    <a:pt x="11319" y="14936"/>
                    <a:pt x="10719" y="14925"/>
                    <a:pt x="10062" y="14803"/>
                  </a:cubicBezTo>
                  <a:lnTo>
                    <a:pt x="11470" y="12033"/>
                  </a:lnTo>
                  <a:cubicBezTo>
                    <a:pt x="12202" y="12347"/>
                    <a:pt x="12689" y="12665"/>
                    <a:pt x="12929" y="12990"/>
                  </a:cubicBezTo>
                  <a:cubicBezTo>
                    <a:pt x="13170" y="13314"/>
                    <a:pt x="13199" y="13656"/>
                    <a:pt x="13016" y="14016"/>
                  </a:cubicBezTo>
                  <a:cubicBezTo>
                    <a:pt x="12788" y="14464"/>
                    <a:pt x="12404" y="14737"/>
                    <a:pt x="11862" y="14837"/>
                  </a:cubicBezTo>
                  <a:close/>
                  <a:moveTo>
                    <a:pt x="11160" y="7922"/>
                  </a:moveTo>
                  <a:cubicBezTo>
                    <a:pt x="10328" y="7534"/>
                    <a:pt x="9843" y="7208"/>
                    <a:pt x="9703" y="6943"/>
                  </a:cubicBezTo>
                  <a:cubicBezTo>
                    <a:pt x="9564" y="6678"/>
                    <a:pt x="9573" y="6390"/>
                    <a:pt x="9731" y="6080"/>
                  </a:cubicBezTo>
                  <a:cubicBezTo>
                    <a:pt x="9925" y="5698"/>
                    <a:pt x="10280" y="5460"/>
                    <a:pt x="10797" y="5366"/>
                  </a:cubicBezTo>
                  <a:cubicBezTo>
                    <a:pt x="11313" y="5271"/>
                    <a:pt x="11863" y="5280"/>
                    <a:pt x="12447" y="5391"/>
                  </a:cubicBezTo>
                  <a:cubicBezTo>
                    <a:pt x="12447" y="5391"/>
                    <a:pt x="11160" y="7922"/>
                    <a:pt x="11160" y="7922"/>
                  </a:cubicBezTo>
                  <a:close/>
                  <a:moveTo>
                    <a:pt x="18448" y="11898"/>
                  </a:moveTo>
                  <a:cubicBezTo>
                    <a:pt x="17756" y="11011"/>
                    <a:pt x="16443" y="10132"/>
                    <a:pt x="14509" y="9260"/>
                  </a:cubicBezTo>
                  <a:lnTo>
                    <a:pt x="13281" y="8708"/>
                  </a:lnTo>
                  <a:lnTo>
                    <a:pt x="14678" y="5960"/>
                  </a:lnTo>
                  <a:cubicBezTo>
                    <a:pt x="15796" y="6300"/>
                    <a:pt x="16742" y="6678"/>
                    <a:pt x="17515" y="7091"/>
                  </a:cubicBezTo>
                  <a:cubicBezTo>
                    <a:pt x="18287" y="7505"/>
                    <a:pt x="18960" y="7970"/>
                    <a:pt x="19531" y="8486"/>
                  </a:cubicBezTo>
                  <a:lnTo>
                    <a:pt x="20016" y="8612"/>
                  </a:lnTo>
                  <a:lnTo>
                    <a:pt x="21600" y="5497"/>
                  </a:lnTo>
                  <a:cubicBezTo>
                    <a:pt x="21073" y="5139"/>
                    <a:pt x="20265" y="4723"/>
                    <a:pt x="19175" y="4247"/>
                  </a:cubicBezTo>
                  <a:cubicBezTo>
                    <a:pt x="18086" y="3771"/>
                    <a:pt x="17092" y="3404"/>
                    <a:pt x="16195" y="3146"/>
                  </a:cubicBezTo>
                  <a:lnTo>
                    <a:pt x="17466" y="647"/>
                  </a:lnTo>
                  <a:lnTo>
                    <a:pt x="14983" y="0"/>
                  </a:lnTo>
                  <a:lnTo>
                    <a:pt x="13701" y="2520"/>
                  </a:lnTo>
                  <a:cubicBezTo>
                    <a:pt x="11359" y="2090"/>
                    <a:pt x="9362" y="2090"/>
                    <a:pt x="7708" y="2521"/>
                  </a:cubicBezTo>
                  <a:cubicBezTo>
                    <a:pt x="6055" y="2952"/>
                    <a:pt x="4953" y="3708"/>
                    <a:pt x="4403" y="4790"/>
                  </a:cubicBezTo>
                  <a:cubicBezTo>
                    <a:pt x="4025" y="5533"/>
                    <a:pt x="3875" y="6182"/>
                    <a:pt x="3953" y="6737"/>
                  </a:cubicBezTo>
                  <a:cubicBezTo>
                    <a:pt x="4031" y="7292"/>
                    <a:pt x="4263" y="7808"/>
                    <a:pt x="4649" y="8284"/>
                  </a:cubicBezTo>
                  <a:cubicBezTo>
                    <a:pt x="5042" y="8771"/>
                    <a:pt x="5542" y="9203"/>
                    <a:pt x="6150" y="9582"/>
                  </a:cubicBezTo>
                  <a:cubicBezTo>
                    <a:pt x="6757" y="9960"/>
                    <a:pt x="7414" y="10320"/>
                    <a:pt x="8122" y="10659"/>
                  </a:cubicBezTo>
                  <a:lnTo>
                    <a:pt x="9349" y="11248"/>
                  </a:lnTo>
                  <a:lnTo>
                    <a:pt x="7825" y="14244"/>
                  </a:lnTo>
                  <a:cubicBezTo>
                    <a:pt x="6592" y="13882"/>
                    <a:pt x="5419" y="13391"/>
                    <a:pt x="4305" y="12770"/>
                  </a:cubicBezTo>
                  <a:cubicBezTo>
                    <a:pt x="3192" y="12149"/>
                    <a:pt x="2450" y="11664"/>
                    <a:pt x="2080" y="11314"/>
                  </a:cubicBezTo>
                  <a:lnTo>
                    <a:pt x="1595" y="11188"/>
                  </a:lnTo>
                  <a:lnTo>
                    <a:pt x="0" y="14325"/>
                  </a:lnTo>
                  <a:cubicBezTo>
                    <a:pt x="634" y="14809"/>
                    <a:pt x="1570" y="15318"/>
                    <a:pt x="2807" y="15853"/>
                  </a:cubicBezTo>
                  <a:cubicBezTo>
                    <a:pt x="4044" y="16387"/>
                    <a:pt x="5205" y="16800"/>
                    <a:pt x="6292" y="17091"/>
                  </a:cubicBezTo>
                  <a:lnTo>
                    <a:pt x="4328" y="20953"/>
                  </a:lnTo>
                  <a:lnTo>
                    <a:pt x="6811" y="21600"/>
                  </a:lnTo>
                  <a:lnTo>
                    <a:pt x="8802" y="17684"/>
                  </a:lnTo>
                  <a:cubicBezTo>
                    <a:pt x="9975" y="17941"/>
                    <a:pt x="11089" y="18053"/>
                    <a:pt x="12145" y="18022"/>
                  </a:cubicBezTo>
                  <a:cubicBezTo>
                    <a:pt x="13201" y="17991"/>
                    <a:pt x="14151" y="17853"/>
                    <a:pt x="14996" y="17607"/>
                  </a:cubicBezTo>
                  <a:cubicBezTo>
                    <a:pt x="15827" y="17366"/>
                    <a:pt x="16557" y="17022"/>
                    <a:pt x="17185" y="16573"/>
                  </a:cubicBezTo>
                  <a:cubicBezTo>
                    <a:pt x="17814" y="16124"/>
                    <a:pt x="18282" y="15597"/>
                    <a:pt x="18590" y="14991"/>
                  </a:cubicBezTo>
                  <a:cubicBezTo>
                    <a:pt x="19188" y="13816"/>
                    <a:pt x="19140" y="12784"/>
                    <a:pt x="18448" y="11898"/>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55" name="Circle">
              <a:extLst>
                <a:ext uri="{FF2B5EF4-FFF2-40B4-BE49-F238E27FC236}">
                  <a16:creationId xmlns:a16="http://schemas.microsoft.com/office/drawing/2014/main" xmlns="" id="{C3F32903-E351-480A-8FA5-26D688D2DD93}"/>
                </a:ext>
              </a:extLst>
            </p:cNvPr>
            <p:cNvSpPr/>
            <p:nvPr/>
          </p:nvSpPr>
          <p:spPr>
            <a:xfrm rot="20100000">
              <a:off x="5764336" y="2708608"/>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7" name="Shape">
              <a:extLst>
                <a:ext uri="{FF2B5EF4-FFF2-40B4-BE49-F238E27FC236}">
                  <a16:creationId xmlns:a16="http://schemas.microsoft.com/office/drawing/2014/main" xmlns="" id="{F7DC0F48-DA03-465A-8A3D-7F7210044C24}"/>
                </a:ext>
              </a:extLst>
            </p:cNvPr>
            <p:cNvSpPr/>
            <p:nvPr/>
          </p:nvSpPr>
          <p:spPr>
            <a:xfrm rot="20100000">
              <a:off x="5796148" y="2739142"/>
              <a:ext cx="390292" cy="392850"/>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59" name="Shape">
              <a:extLst>
                <a:ext uri="{FF2B5EF4-FFF2-40B4-BE49-F238E27FC236}">
                  <a16:creationId xmlns:a16="http://schemas.microsoft.com/office/drawing/2014/main" xmlns="" id="{C84951F4-AD19-4BE6-A206-E7630F9CD428}"/>
                </a:ext>
              </a:extLst>
            </p:cNvPr>
            <p:cNvSpPr/>
            <p:nvPr/>
          </p:nvSpPr>
          <p:spPr>
            <a:xfrm rot="20100000">
              <a:off x="5882807" y="2803111"/>
              <a:ext cx="206431" cy="271195"/>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1" name="Circle">
              <a:extLst>
                <a:ext uri="{FF2B5EF4-FFF2-40B4-BE49-F238E27FC236}">
                  <a16:creationId xmlns:a16="http://schemas.microsoft.com/office/drawing/2014/main" xmlns="" id="{281CE9D0-DB3B-49B1-8606-A5D52C7A8CC0}"/>
                </a:ext>
              </a:extLst>
            </p:cNvPr>
            <p:cNvSpPr/>
            <p:nvPr/>
          </p:nvSpPr>
          <p:spPr>
            <a:xfrm rot="3600000">
              <a:off x="6375976" y="2047169"/>
              <a:ext cx="453917" cy="453918"/>
            </a:xfrm>
            <a:prstGeom prst="ellipse">
              <a:avLst/>
            </a:prstGeom>
            <a:solidFill>
              <a:schemeClr val="accent1">
                <a:lumMod val="25000"/>
                <a:lumOff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4" name="Shape">
              <a:extLst>
                <a:ext uri="{FF2B5EF4-FFF2-40B4-BE49-F238E27FC236}">
                  <a16:creationId xmlns:a16="http://schemas.microsoft.com/office/drawing/2014/main" xmlns="" id="{9A8D2B23-2278-4EE2-952A-49160B9E8733}"/>
                </a:ext>
              </a:extLst>
            </p:cNvPr>
            <p:cNvSpPr/>
            <p:nvPr/>
          </p:nvSpPr>
          <p:spPr>
            <a:xfrm rot="3600000">
              <a:off x="6407789" y="2077703"/>
              <a:ext cx="390291" cy="392851"/>
            </a:xfrm>
            <a:custGeom>
              <a:avLst/>
              <a:gdLst/>
              <a:ahLst/>
              <a:cxnLst>
                <a:cxn ang="0">
                  <a:pos x="wd2" y="hd2"/>
                </a:cxn>
                <a:cxn ang="5400000">
                  <a:pos x="wd2" y="hd2"/>
                </a:cxn>
                <a:cxn ang="10800000">
                  <a:pos x="wd2" y="hd2"/>
                </a:cxn>
                <a:cxn ang="16200000">
                  <a:pos x="wd2" y="hd2"/>
                </a:cxn>
              </a:cxnLst>
              <a:rect l="0" t="0" r="r" b="b"/>
              <a:pathLst>
                <a:path w="18917" h="18913" extrusionOk="0">
                  <a:moveTo>
                    <a:pt x="4683" y="1241"/>
                  </a:moveTo>
                  <a:cubicBezTo>
                    <a:pt x="175" y="3827"/>
                    <a:pt x="-1342" y="9600"/>
                    <a:pt x="1295" y="14137"/>
                  </a:cubicBezTo>
                  <a:cubicBezTo>
                    <a:pt x="3932" y="18674"/>
                    <a:pt x="9725" y="20256"/>
                    <a:pt x="14233" y="17671"/>
                  </a:cubicBezTo>
                  <a:cubicBezTo>
                    <a:pt x="18741" y="15085"/>
                    <a:pt x="20258" y="9312"/>
                    <a:pt x="17621" y="4775"/>
                  </a:cubicBezTo>
                  <a:cubicBezTo>
                    <a:pt x="14984" y="238"/>
                    <a:pt x="9191" y="-1344"/>
                    <a:pt x="4683" y="1241"/>
                  </a:cubicBezTo>
                  <a:close/>
                </a:path>
              </a:pathLst>
            </a:custGeom>
            <a:solidFill>
              <a:schemeClr val="accent1">
                <a:lumMod val="10000"/>
                <a:lumOff val="9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65" name="Shape">
              <a:extLst>
                <a:ext uri="{FF2B5EF4-FFF2-40B4-BE49-F238E27FC236}">
                  <a16:creationId xmlns:a16="http://schemas.microsoft.com/office/drawing/2014/main" xmlns="" id="{24B85E26-2B0F-4404-8D6A-C8B0E43E68EB}"/>
                </a:ext>
              </a:extLst>
            </p:cNvPr>
            <p:cNvSpPr/>
            <p:nvPr/>
          </p:nvSpPr>
          <p:spPr>
            <a:xfrm rot="3600000">
              <a:off x="6496132" y="2133551"/>
              <a:ext cx="206431" cy="271196"/>
            </a:xfrm>
            <a:custGeom>
              <a:avLst/>
              <a:gdLst/>
              <a:ahLst/>
              <a:cxnLst>
                <a:cxn ang="0">
                  <a:pos x="wd2" y="hd2"/>
                </a:cxn>
                <a:cxn ang="5400000">
                  <a:pos x="wd2" y="hd2"/>
                </a:cxn>
                <a:cxn ang="10800000">
                  <a:pos x="wd2" y="hd2"/>
                </a:cxn>
                <a:cxn ang="16200000">
                  <a:pos x="wd2" y="hd2"/>
                </a:cxn>
              </a:cxnLst>
              <a:rect l="0" t="0" r="r" b="b"/>
              <a:pathLst>
                <a:path w="21336" h="21600" extrusionOk="0">
                  <a:moveTo>
                    <a:pt x="16082" y="13003"/>
                  </a:moveTo>
                  <a:cubicBezTo>
                    <a:pt x="15842" y="13388"/>
                    <a:pt x="15448" y="13731"/>
                    <a:pt x="14900" y="14032"/>
                  </a:cubicBezTo>
                  <a:lnTo>
                    <a:pt x="12861" y="11310"/>
                  </a:lnTo>
                  <a:cubicBezTo>
                    <a:pt x="13659" y="11097"/>
                    <a:pt x="14307" y="11031"/>
                    <a:pt x="14804" y="11112"/>
                  </a:cubicBezTo>
                  <a:cubicBezTo>
                    <a:pt x="15301" y="11194"/>
                    <a:pt x="15682" y="11411"/>
                    <a:pt x="15947" y="11766"/>
                  </a:cubicBezTo>
                  <a:cubicBezTo>
                    <a:pt x="16277" y="12205"/>
                    <a:pt x="16321" y="12618"/>
                    <a:pt x="16082" y="13003"/>
                  </a:cubicBezTo>
                  <a:close/>
                  <a:moveTo>
                    <a:pt x="8306" y="8674"/>
                  </a:moveTo>
                  <a:cubicBezTo>
                    <a:pt x="7365" y="8894"/>
                    <a:pt x="6710" y="8954"/>
                    <a:pt x="6340" y="8854"/>
                  </a:cubicBezTo>
                  <a:cubicBezTo>
                    <a:pt x="5970" y="8754"/>
                    <a:pt x="5671" y="8551"/>
                    <a:pt x="5443" y="8247"/>
                  </a:cubicBezTo>
                  <a:cubicBezTo>
                    <a:pt x="5162" y="7871"/>
                    <a:pt x="5135" y="7500"/>
                    <a:pt x="5365" y="7133"/>
                  </a:cubicBezTo>
                  <a:cubicBezTo>
                    <a:pt x="5593" y="6767"/>
                    <a:pt x="5953" y="6451"/>
                    <a:pt x="6442" y="6186"/>
                  </a:cubicBezTo>
                  <a:cubicBezTo>
                    <a:pt x="6442" y="6186"/>
                    <a:pt x="8306" y="8674"/>
                    <a:pt x="8306" y="8674"/>
                  </a:cubicBezTo>
                  <a:close/>
                  <a:moveTo>
                    <a:pt x="17160" y="7137"/>
                  </a:moveTo>
                  <a:cubicBezTo>
                    <a:pt x="15779" y="6934"/>
                    <a:pt x="14011" y="7099"/>
                    <a:pt x="11856" y="7633"/>
                  </a:cubicBezTo>
                  <a:lnTo>
                    <a:pt x="10489" y="7972"/>
                  </a:lnTo>
                  <a:lnTo>
                    <a:pt x="8466" y="5272"/>
                  </a:lnTo>
                  <a:cubicBezTo>
                    <a:pt x="9538" y="4851"/>
                    <a:pt x="10540" y="4557"/>
                    <a:pt x="11471" y="4388"/>
                  </a:cubicBezTo>
                  <a:cubicBezTo>
                    <a:pt x="12401" y="4220"/>
                    <a:pt x="13322" y="4146"/>
                    <a:pt x="14233" y="4166"/>
                  </a:cubicBezTo>
                  <a:lnTo>
                    <a:pt x="14675" y="3969"/>
                  </a:lnTo>
                  <a:lnTo>
                    <a:pt x="12382" y="907"/>
                  </a:lnTo>
                  <a:cubicBezTo>
                    <a:pt x="11667" y="970"/>
                    <a:pt x="10711" y="1157"/>
                    <a:pt x="9513" y="1468"/>
                  </a:cubicBezTo>
                  <a:cubicBezTo>
                    <a:pt x="8315" y="1779"/>
                    <a:pt x="7293" y="2108"/>
                    <a:pt x="6448" y="2456"/>
                  </a:cubicBezTo>
                  <a:lnTo>
                    <a:pt x="4608" y="0"/>
                  </a:lnTo>
                  <a:lnTo>
                    <a:pt x="2342" y="1008"/>
                  </a:lnTo>
                  <a:lnTo>
                    <a:pt x="4198" y="3485"/>
                  </a:lnTo>
                  <a:cubicBezTo>
                    <a:pt x="2250" y="4560"/>
                    <a:pt x="979" y="5728"/>
                    <a:pt x="383" y="6990"/>
                  </a:cubicBezTo>
                  <a:cubicBezTo>
                    <a:pt x="-213" y="8252"/>
                    <a:pt x="-113" y="9414"/>
                    <a:pt x="684" y="10477"/>
                  </a:cubicBezTo>
                  <a:cubicBezTo>
                    <a:pt x="1231" y="11207"/>
                    <a:pt x="1823" y="11740"/>
                    <a:pt x="2461" y="12075"/>
                  </a:cubicBezTo>
                  <a:cubicBezTo>
                    <a:pt x="3099" y="12410"/>
                    <a:pt x="3794" y="12628"/>
                    <a:pt x="4544" y="12728"/>
                  </a:cubicBezTo>
                  <a:cubicBezTo>
                    <a:pt x="5310" y="12832"/>
                    <a:pt x="6087" y="12836"/>
                    <a:pt x="6875" y="12740"/>
                  </a:cubicBezTo>
                  <a:cubicBezTo>
                    <a:pt x="7663" y="12645"/>
                    <a:pt x="8462" y="12507"/>
                    <a:pt x="9273" y="12326"/>
                  </a:cubicBezTo>
                  <a:lnTo>
                    <a:pt x="10678" y="12012"/>
                  </a:lnTo>
                  <a:lnTo>
                    <a:pt x="12884" y="14957"/>
                  </a:lnTo>
                  <a:cubicBezTo>
                    <a:pt x="11715" y="15430"/>
                    <a:pt x="10447" y="15779"/>
                    <a:pt x="9081" y="16004"/>
                  </a:cubicBezTo>
                  <a:cubicBezTo>
                    <a:pt x="7714" y="16230"/>
                    <a:pt x="6727" y="16331"/>
                    <a:pt x="6121" y="16308"/>
                  </a:cubicBezTo>
                  <a:lnTo>
                    <a:pt x="5678" y="16505"/>
                  </a:lnTo>
                  <a:lnTo>
                    <a:pt x="7988" y="19588"/>
                  </a:lnTo>
                  <a:cubicBezTo>
                    <a:pt x="8904" y="19548"/>
                    <a:pt x="10040" y="19350"/>
                    <a:pt x="11394" y="18993"/>
                  </a:cubicBezTo>
                  <a:cubicBezTo>
                    <a:pt x="12748" y="18637"/>
                    <a:pt x="13925" y="18240"/>
                    <a:pt x="14926" y="17805"/>
                  </a:cubicBezTo>
                  <a:lnTo>
                    <a:pt x="17769" y="21600"/>
                  </a:lnTo>
                  <a:lnTo>
                    <a:pt x="20036" y="20592"/>
                  </a:lnTo>
                  <a:lnTo>
                    <a:pt x="17152" y="16743"/>
                  </a:lnTo>
                  <a:cubicBezTo>
                    <a:pt x="18171" y="16234"/>
                    <a:pt x="18999" y="15659"/>
                    <a:pt x="19639" y="15020"/>
                  </a:cubicBezTo>
                  <a:cubicBezTo>
                    <a:pt x="20278" y="14382"/>
                    <a:pt x="20737" y="13731"/>
                    <a:pt x="21014" y="13069"/>
                  </a:cubicBezTo>
                  <a:cubicBezTo>
                    <a:pt x="21288" y="12418"/>
                    <a:pt x="21387" y="11755"/>
                    <a:pt x="21311" y="11080"/>
                  </a:cubicBezTo>
                  <a:cubicBezTo>
                    <a:pt x="21236" y="10405"/>
                    <a:pt x="20975" y="9770"/>
                    <a:pt x="20529" y="9174"/>
                  </a:cubicBezTo>
                  <a:cubicBezTo>
                    <a:pt x="19664" y="8019"/>
                    <a:pt x="18540" y="7340"/>
                    <a:pt x="17160" y="7137"/>
                  </a:cubicBezTo>
                  <a:close/>
                </a:path>
              </a:pathLst>
            </a:custGeom>
            <a:solidFill>
              <a:schemeClr val="accent1">
                <a:lumMod val="25000"/>
                <a:lumOff val="7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grpSp>
      <p:sp>
        <p:nvSpPr>
          <p:cNvPr id="66" name="TextBox 36">
            <a:extLst>
              <a:ext uri="{FF2B5EF4-FFF2-40B4-BE49-F238E27FC236}">
                <a16:creationId xmlns:a16="http://schemas.microsoft.com/office/drawing/2014/main" xmlns="" id="{4BDB9038-0C3C-45F5-9807-93F150471EA9}"/>
              </a:ext>
            </a:extLst>
          </p:cNvPr>
          <p:cNvSpPr txBox="1"/>
          <p:nvPr/>
        </p:nvSpPr>
        <p:spPr>
          <a:xfrm>
            <a:off x="8345590" y="4991934"/>
            <a:ext cx="1223540" cy="369332"/>
          </a:xfrm>
          <a:prstGeom prst="rect">
            <a:avLst/>
          </a:prstGeom>
          <a:noFill/>
        </p:spPr>
        <p:txBody>
          <a:bodyPr wrap="none" rtlCol="0" anchor="ctr" anchorCtr="0">
            <a:spAutoFit/>
          </a:bodyPr>
          <a:lstStyle/>
          <a:p>
            <a:r>
              <a:rPr lang="en-GB" b="1" dirty="0">
                <a:solidFill>
                  <a:srgbClr val="E53292"/>
                </a:solidFill>
                <a:latin typeface="+mj-lt"/>
                <a:ea typeface="League Spartan" charset="0"/>
                <a:cs typeface="Poppins" pitchFamily="2" charset="77"/>
              </a:rPr>
              <a:t>3. Die Wahl</a:t>
            </a:r>
          </a:p>
        </p:txBody>
      </p:sp>
      <p:sp>
        <p:nvSpPr>
          <p:cNvPr id="67" name="Subtitle 2">
            <a:extLst>
              <a:ext uri="{FF2B5EF4-FFF2-40B4-BE49-F238E27FC236}">
                <a16:creationId xmlns:a16="http://schemas.microsoft.com/office/drawing/2014/main" xmlns="" id="{C214A02F-34E0-452E-84EF-D2ED0290BFB8}"/>
              </a:ext>
            </a:extLst>
          </p:cNvPr>
          <p:cNvSpPr txBox="1">
            <a:spLocks/>
          </p:cNvSpPr>
          <p:nvPr/>
        </p:nvSpPr>
        <p:spPr>
          <a:xfrm>
            <a:off x="8417247" y="5293348"/>
            <a:ext cx="3460718"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Oft besteht die Wahl zwischen Konkurs, (beschleunigter) Sanierung und vertraglicher Umschuldung.</a:t>
            </a:r>
          </a:p>
        </p:txBody>
      </p:sp>
      <p:sp>
        <p:nvSpPr>
          <p:cNvPr id="68" name="TextBox 38">
            <a:extLst>
              <a:ext uri="{FF2B5EF4-FFF2-40B4-BE49-F238E27FC236}">
                <a16:creationId xmlns:a16="http://schemas.microsoft.com/office/drawing/2014/main" xmlns="" id="{668596EC-B052-4373-AAB3-926755114F2D}"/>
              </a:ext>
            </a:extLst>
          </p:cNvPr>
          <p:cNvSpPr txBox="1"/>
          <p:nvPr/>
        </p:nvSpPr>
        <p:spPr>
          <a:xfrm>
            <a:off x="8246582" y="1794521"/>
            <a:ext cx="3919829" cy="646331"/>
          </a:xfrm>
          <a:prstGeom prst="rect">
            <a:avLst/>
          </a:prstGeom>
          <a:noFill/>
        </p:spPr>
        <p:txBody>
          <a:bodyPr wrap="square" rtlCol="0" anchor="ctr" anchorCtr="0">
            <a:spAutoFit/>
          </a:bodyPr>
          <a:lstStyle/>
          <a:p>
            <a:r>
              <a:rPr lang="en-GB" b="1" dirty="0">
                <a:solidFill>
                  <a:schemeClr val="tx2"/>
                </a:solidFill>
                <a:latin typeface="+mj-lt"/>
                <a:ea typeface="League Spartan" charset="0"/>
                <a:cs typeface="Poppins" pitchFamily="2" charset="77"/>
              </a:rPr>
              <a:t>1. </a:t>
            </a:r>
            <a:r>
              <a:rPr lang="en-GB" b="1" dirty="0" err="1">
                <a:solidFill>
                  <a:schemeClr val="tx2"/>
                </a:solidFill>
                <a:latin typeface="+mj-lt"/>
                <a:ea typeface="League Spartan" charset="0"/>
                <a:cs typeface="Poppins" pitchFamily="2" charset="77"/>
              </a:rPr>
              <a:t>Beitrag</a:t>
            </a:r>
            <a:r>
              <a:rPr lang="en-GB" b="1" dirty="0">
                <a:solidFill>
                  <a:schemeClr val="tx2"/>
                </a:solidFill>
                <a:latin typeface="+mj-lt"/>
                <a:ea typeface="League Spartan" charset="0"/>
                <a:cs typeface="Poppins" pitchFamily="2" charset="77"/>
              </a:rPr>
              <a:t> zur </a:t>
            </a:r>
            <a:r>
              <a:rPr lang="en-GB" b="1" dirty="0" err="1">
                <a:solidFill>
                  <a:schemeClr val="tx2"/>
                </a:solidFill>
                <a:latin typeface="+mj-lt"/>
                <a:ea typeface="League Spartan" charset="0"/>
                <a:cs typeface="Poppins" pitchFamily="2" charset="77"/>
              </a:rPr>
              <a:t>finanziellen</a:t>
            </a:r>
            <a:r>
              <a:rPr lang="en-GB" b="1" dirty="0">
                <a:solidFill>
                  <a:schemeClr val="tx2"/>
                </a:solidFill>
                <a:latin typeface="+mj-lt"/>
                <a:ea typeface="League Spartan" charset="0"/>
                <a:cs typeface="Poppins" pitchFamily="2" charset="77"/>
              </a:rPr>
              <a:t>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Umstrukturierung</a:t>
            </a:r>
            <a:endParaRPr lang="en-GB" b="1" dirty="0">
              <a:solidFill>
                <a:schemeClr val="tx2"/>
              </a:solidFill>
              <a:latin typeface="+mj-lt"/>
              <a:ea typeface="League Spartan" charset="0"/>
              <a:cs typeface="Poppins" pitchFamily="2" charset="77"/>
            </a:endParaRPr>
          </a:p>
        </p:txBody>
      </p:sp>
      <p:sp>
        <p:nvSpPr>
          <p:cNvPr id="69" name="Subtitle 2">
            <a:extLst>
              <a:ext uri="{FF2B5EF4-FFF2-40B4-BE49-F238E27FC236}">
                <a16:creationId xmlns:a16="http://schemas.microsoft.com/office/drawing/2014/main" xmlns="" id="{137038A8-095B-4F12-B618-A83D07635F06}"/>
              </a:ext>
            </a:extLst>
          </p:cNvPr>
          <p:cNvSpPr txBox="1">
            <a:spLocks/>
          </p:cNvSpPr>
          <p:nvPr/>
        </p:nvSpPr>
        <p:spPr>
          <a:xfrm>
            <a:off x="8502681" y="2395316"/>
            <a:ext cx="3139041"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Zur</a:t>
            </a:r>
            <a:r>
              <a:rPr lang="en-GB" sz="1800" dirty="0">
                <a:solidFill>
                  <a:srgbClr val="245473"/>
                </a:solidFill>
                <a:latin typeface="+mj-lt"/>
                <a:ea typeface="Lato Light" panose="020F0502020204030203" pitchFamily="34" charset="0"/>
                <a:cs typeface="Mukta ExtraLight" panose="020B0000000000000000" pitchFamily="34" charset="77"/>
              </a:rPr>
              <a:t> Wiederherstellung der Zahlungsfähigkeit des Schuldners durch Umschuldung beizutragen; </a:t>
            </a:r>
            <a:r>
              <a:rPr lang="en-GB" sz="1800" dirty="0" err="1">
                <a:solidFill>
                  <a:srgbClr val="245473"/>
                </a:solidFill>
                <a:latin typeface="+mj-lt"/>
                <a:ea typeface="Lato Light" panose="020F0502020204030203" pitchFamily="34" charset="0"/>
                <a:cs typeface="Mukta ExtraLight" panose="020B0000000000000000" pitchFamily="34" charset="77"/>
              </a:rPr>
              <a:t>oder</a:t>
            </a:r>
            <a:r>
              <a:rPr lang="en-GB" sz="1800" dirty="0">
                <a:solidFill>
                  <a:srgbClr val="245473"/>
                </a:solidFill>
                <a:latin typeface="+mj-lt"/>
                <a:ea typeface="Lato Light" panose="020F0502020204030203" pitchFamily="34" charset="0"/>
                <a:cs typeface="Mukta ExtraLight" panose="020B0000000000000000" pitchFamily="34" charset="77"/>
              </a:rPr>
              <a:t> Lieber…</a:t>
            </a:r>
          </a:p>
        </p:txBody>
      </p:sp>
      <p:sp>
        <p:nvSpPr>
          <p:cNvPr id="70" name="TextBox 40">
            <a:extLst>
              <a:ext uri="{FF2B5EF4-FFF2-40B4-BE49-F238E27FC236}">
                <a16:creationId xmlns:a16="http://schemas.microsoft.com/office/drawing/2014/main" xmlns="" id="{80C32724-4FB7-44FC-BA7A-F584A81CF91B}"/>
              </a:ext>
            </a:extLst>
          </p:cNvPr>
          <p:cNvSpPr txBox="1"/>
          <p:nvPr/>
        </p:nvSpPr>
        <p:spPr>
          <a:xfrm>
            <a:off x="8303230" y="3508959"/>
            <a:ext cx="3489225" cy="369332"/>
          </a:xfrm>
          <a:prstGeom prst="rect">
            <a:avLst/>
          </a:prstGeom>
          <a:noFill/>
        </p:spPr>
        <p:txBody>
          <a:bodyPr wrap="none" rtlCol="0" anchor="ctr" anchorCtr="0">
            <a:spAutoFit/>
          </a:bodyPr>
          <a:lstStyle/>
          <a:p>
            <a:r>
              <a:rPr lang="en-GB" b="1" dirty="0">
                <a:solidFill>
                  <a:srgbClr val="F95C2C"/>
                </a:solidFill>
                <a:latin typeface="+mj-lt"/>
                <a:ea typeface="League Spartan" charset="0"/>
                <a:cs typeface="Poppins" pitchFamily="2" charset="77"/>
              </a:rPr>
              <a:t>2. </a:t>
            </a:r>
            <a:r>
              <a:rPr lang="en-GB" b="1" dirty="0" err="1">
                <a:solidFill>
                  <a:srgbClr val="F95C2C"/>
                </a:solidFill>
                <a:latin typeface="+mj-lt"/>
                <a:ea typeface="League Spartan" charset="0"/>
                <a:cs typeface="Poppins" pitchFamily="2" charset="77"/>
              </a:rPr>
              <a:t>Einen</a:t>
            </a:r>
            <a:r>
              <a:rPr lang="en-GB" b="1" dirty="0">
                <a:solidFill>
                  <a:srgbClr val="F95C2C"/>
                </a:solidFill>
                <a:latin typeface="+mj-lt"/>
                <a:ea typeface="League Spartan" charset="0"/>
                <a:cs typeface="Poppins" pitchFamily="2" charset="77"/>
              </a:rPr>
              <a:t> Teil der Schulden eintreiben</a:t>
            </a:r>
          </a:p>
        </p:txBody>
      </p:sp>
      <p:sp>
        <p:nvSpPr>
          <p:cNvPr id="71" name="Subtitle 2">
            <a:extLst>
              <a:ext uri="{FF2B5EF4-FFF2-40B4-BE49-F238E27FC236}">
                <a16:creationId xmlns:a16="http://schemas.microsoft.com/office/drawing/2014/main" xmlns="" id="{A040C607-6976-45CD-8963-0302E006F692}"/>
              </a:ext>
            </a:extLst>
          </p:cNvPr>
          <p:cNvSpPr txBox="1">
            <a:spLocks/>
          </p:cNvSpPr>
          <p:nvPr/>
        </p:nvSpPr>
        <p:spPr>
          <a:xfrm>
            <a:off x="8475882" y="3870113"/>
            <a:ext cx="3259390"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1800" dirty="0">
                <a:solidFill>
                  <a:srgbClr val="245473"/>
                </a:solidFill>
                <a:latin typeface="+mj-lt"/>
                <a:ea typeface="Lato Light" panose="020F0502020204030203" pitchFamily="34" charset="0"/>
                <a:cs typeface="Mukta ExtraLight" panose="020B0000000000000000" pitchFamily="34" charset="77"/>
              </a:rPr>
              <a:t>…die Schulden so schnell wie möglich eintreiben, was den Schuldner oft zum Konkurs verdammt?</a:t>
            </a:r>
            <a:endParaRPr lang="en-GB" sz="1800" dirty="0">
              <a:solidFill>
                <a:srgbClr val="245473"/>
              </a:solidFill>
              <a:latin typeface="+mj-lt"/>
              <a:ea typeface="Lato Light" panose="020F0502020204030203" pitchFamily="34" charset="0"/>
              <a:cs typeface="Mukta ExtraLight" panose="020B0000000000000000" pitchFamily="34" charset="77"/>
            </a:endParaRPr>
          </a:p>
        </p:txBody>
      </p:sp>
      <p:sp>
        <p:nvSpPr>
          <p:cNvPr id="72" name="Oval 42">
            <a:extLst>
              <a:ext uri="{FF2B5EF4-FFF2-40B4-BE49-F238E27FC236}">
                <a16:creationId xmlns:a16="http://schemas.microsoft.com/office/drawing/2014/main" xmlns="" id="{68EAEF29-F9B8-4195-93ED-C9C63581AFBB}"/>
              </a:ext>
            </a:extLst>
          </p:cNvPr>
          <p:cNvSpPr/>
          <p:nvPr/>
        </p:nvSpPr>
        <p:spPr>
          <a:xfrm>
            <a:off x="7699921" y="2433904"/>
            <a:ext cx="520504" cy="5205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Oval 43">
            <a:extLst>
              <a:ext uri="{FF2B5EF4-FFF2-40B4-BE49-F238E27FC236}">
                <a16:creationId xmlns:a16="http://schemas.microsoft.com/office/drawing/2014/main" xmlns="" id="{6C3A1E9A-2274-45FC-979C-00A786B7ACB7}"/>
              </a:ext>
            </a:extLst>
          </p:cNvPr>
          <p:cNvSpPr/>
          <p:nvPr/>
        </p:nvSpPr>
        <p:spPr>
          <a:xfrm>
            <a:off x="7699921" y="3645757"/>
            <a:ext cx="520504" cy="52050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Oval 44">
            <a:extLst>
              <a:ext uri="{FF2B5EF4-FFF2-40B4-BE49-F238E27FC236}">
                <a16:creationId xmlns:a16="http://schemas.microsoft.com/office/drawing/2014/main" xmlns="" id="{76830284-E2DD-490C-B1C5-02A4F0AEFD8C}"/>
              </a:ext>
            </a:extLst>
          </p:cNvPr>
          <p:cNvSpPr/>
          <p:nvPr/>
        </p:nvSpPr>
        <p:spPr>
          <a:xfrm>
            <a:off x="7699921" y="4879287"/>
            <a:ext cx="520504" cy="52050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5" name="Freeform 991">
            <a:extLst>
              <a:ext uri="{FF2B5EF4-FFF2-40B4-BE49-F238E27FC236}">
                <a16:creationId xmlns:a16="http://schemas.microsoft.com/office/drawing/2014/main" xmlns="" id="{EAD05D6E-DC3E-43DE-B19D-9D2DFB7B2E6F}"/>
              </a:ext>
            </a:extLst>
          </p:cNvPr>
          <p:cNvSpPr>
            <a:spLocks noChangeAspect="1" noChangeArrowheads="1"/>
          </p:cNvSpPr>
          <p:nvPr/>
        </p:nvSpPr>
        <p:spPr bwMode="auto">
          <a:xfrm>
            <a:off x="7820359" y="3770921"/>
            <a:ext cx="270175" cy="270175"/>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GB" sz="1600" dirty="0">
              <a:latin typeface="+mj-lt"/>
            </a:endParaRPr>
          </a:p>
        </p:txBody>
      </p:sp>
      <p:sp>
        <p:nvSpPr>
          <p:cNvPr id="76" name="Freeform 1004">
            <a:extLst>
              <a:ext uri="{FF2B5EF4-FFF2-40B4-BE49-F238E27FC236}">
                <a16:creationId xmlns:a16="http://schemas.microsoft.com/office/drawing/2014/main" xmlns="" id="{055A1FD5-0306-4806-976C-61DD24969DAF}"/>
              </a:ext>
            </a:extLst>
          </p:cNvPr>
          <p:cNvSpPr>
            <a:spLocks noChangeAspect="1" noChangeArrowheads="1"/>
          </p:cNvSpPr>
          <p:nvPr/>
        </p:nvSpPr>
        <p:spPr bwMode="auto">
          <a:xfrm>
            <a:off x="7825086" y="5004864"/>
            <a:ext cx="270175" cy="269349"/>
          </a:xfrm>
          <a:custGeom>
            <a:avLst/>
            <a:gdLst>
              <a:gd name="T0" fmla="*/ 540477 w 285390"/>
              <a:gd name="T1" fmla="*/ 863917 h 285391"/>
              <a:gd name="T2" fmla="*/ 540477 w 285390"/>
              <a:gd name="T3" fmla="*/ 894255 h 285391"/>
              <a:gd name="T4" fmla="*/ 391021 w 285390"/>
              <a:gd name="T5" fmla="*/ 879086 h 285391"/>
              <a:gd name="T6" fmla="*/ 28750 w 285390"/>
              <a:gd name="T7" fmla="*/ 831316 h 285391"/>
              <a:gd name="T8" fmla="*/ 71867 w 285390"/>
              <a:gd name="T9" fmla="*/ 918378 h 285391"/>
              <a:gd name="T10" fmla="*/ 921185 w 285390"/>
              <a:gd name="T11" fmla="*/ 875446 h 285391"/>
              <a:gd name="T12" fmla="*/ 28750 w 285390"/>
              <a:gd name="T13" fmla="*/ 831316 h 285391"/>
              <a:gd name="T14" fmla="*/ 35943 w 285390"/>
              <a:gd name="T15" fmla="*/ 803885 h 285391"/>
              <a:gd name="T16" fmla="*/ 849311 w 285390"/>
              <a:gd name="T17" fmla="*/ 660757 h 285391"/>
              <a:gd name="T18" fmla="*/ 678282 w 285390"/>
              <a:gd name="T19" fmla="*/ 431942 h 285391"/>
              <a:gd name="T20" fmla="*/ 703503 w 285390"/>
              <a:gd name="T21" fmla="*/ 517977 h 285391"/>
              <a:gd name="T22" fmla="*/ 703503 w 285390"/>
              <a:gd name="T23" fmla="*/ 431942 h 285391"/>
              <a:gd name="T24" fmla="*/ 241146 w 285390"/>
              <a:gd name="T25" fmla="*/ 431942 h 285391"/>
              <a:gd name="T26" fmla="*/ 241146 w 285390"/>
              <a:gd name="T27" fmla="*/ 517977 h 285391"/>
              <a:gd name="T28" fmla="*/ 265162 w 285390"/>
              <a:gd name="T29" fmla="*/ 431942 h 285391"/>
              <a:gd name="T30" fmla="*/ 579345 w 285390"/>
              <a:gd name="T31" fmla="*/ 374012 h 285391"/>
              <a:gd name="T32" fmla="*/ 579345 w 285390"/>
              <a:gd name="T33" fmla="*/ 404353 h 285391"/>
              <a:gd name="T34" fmla="*/ 579345 w 285390"/>
              <a:gd name="T35" fmla="*/ 374012 h 285391"/>
              <a:gd name="T36" fmla="*/ 595830 w 285390"/>
              <a:gd name="T37" fmla="*/ 320703 h 285391"/>
              <a:gd name="T38" fmla="*/ 565395 w 285390"/>
              <a:gd name="T39" fmla="*/ 320703 h 285391"/>
              <a:gd name="T40" fmla="*/ 579345 w 285390"/>
              <a:gd name="T41" fmla="*/ 242314 h 285391"/>
              <a:gd name="T42" fmla="*/ 579345 w 285390"/>
              <a:gd name="T43" fmla="*/ 272659 h 285391"/>
              <a:gd name="T44" fmla="*/ 579345 w 285390"/>
              <a:gd name="T45" fmla="*/ 242314 h 285391"/>
              <a:gd name="T46" fmla="*/ 495742 w 285390"/>
              <a:gd name="T47" fmla="*/ 517977 h 285391"/>
              <a:gd name="T48" fmla="*/ 564193 w 285390"/>
              <a:gd name="T49" fmla="*/ 455839 h 285391"/>
              <a:gd name="T50" fmla="*/ 593018 w 285390"/>
              <a:gd name="T51" fmla="*/ 455839 h 285391"/>
              <a:gd name="T52" fmla="*/ 650664 w 285390"/>
              <a:gd name="T53" fmla="*/ 517977 h 285391"/>
              <a:gd name="T54" fmla="*/ 625443 w 285390"/>
              <a:gd name="T55" fmla="*/ 202514 h 285391"/>
              <a:gd name="T56" fmla="*/ 400865 w 285390"/>
              <a:gd name="T57" fmla="*/ 202514 h 285391"/>
              <a:gd name="T58" fmla="*/ 466919 w 285390"/>
              <a:gd name="T59" fmla="*/ 517977 h 285391"/>
              <a:gd name="T60" fmla="*/ 400865 w 285390"/>
              <a:gd name="T61" fmla="*/ 202514 h 285391"/>
              <a:gd name="T62" fmla="*/ 293985 w 285390"/>
              <a:gd name="T63" fmla="*/ 226411 h 285391"/>
              <a:gd name="T64" fmla="*/ 370843 w 285390"/>
              <a:gd name="T65" fmla="*/ 517977 h 285391"/>
              <a:gd name="T66" fmla="*/ 318005 w 285390"/>
              <a:gd name="T67" fmla="*/ 202514 h 285391"/>
              <a:gd name="T68" fmla="*/ 625443 w 285390"/>
              <a:gd name="T69" fmla="*/ 173835 h 285391"/>
              <a:gd name="T70" fmla="*/ 678282 w 285390"/>
              <a:gd name="T71" fmla="*/ 403263 h 285391"/>
              <a:gd name="T72" fmla="*/ 775554 w 285390"/>
              <a:gd name="T73" fmla="*/ 476154 h 285391"/>
              <a:gd name="T74" fmla="*/ 241146 w 285390"/>
              <a:gd name="T75" fmla="*/ 546652 h 285391"/>
              <a:gd name="T76" fmla="*/ 241146 w 285390"/>
              <a:gd name="T77" fmla="*/ 403263 h 285391"/>
              <a:gd name="T78" fmla="*/ 265162 w 285390"/>
              <a:gd name="T79" fmla="*/ 226411 h 285391"/>
              <a:gd name="T80" fmla="*/ 148540 w 285390"/>
              <a:gd name="T81" fmla="*/ 29812 h 285391"/>
              <a:gd name="T82" fmla="*/ 105414 w 285390"/>
              <a:gd name="T83" fmla="*/ 632135 h 285391"/>
              <a:gd name="T84" fmla="*/ 844518 w 285390"/>
              <a:gd name="T85" fmla="*/ 72760 h 285391"/>
              <a:gd name="T86" fmla="*/ 148540 w 285390"/>
              <a:gd name="T87" fmla="*/ 29812 h 285391"/>
              <a:gd name="T88" fmla="*/ 801394 w 285390"/>
              <a:gd name="T89" fmla="*/ 0 h 285391"/>
              <a:gd name="T90" fmla="*/ 873272 w 285390"/>
              <a:gd name="T91" fmla="*/ 642866 h 285391"/>
              <a:gd name="T92" fmla="*/ 949932 w 285390"/>
              <a:gd name="T93" fmla="*/ 818196 h 285391"/>
              <a:gd name="T94" fmla="*/ 878061 w 285390"/>
              <a:gd name="T95" fmla="*/ 947005 h 285391"/>
              <a:gd name="T96" fmla="*/ 0 w 285390"/>
              <a:gd name="T97" fmla="*/ 875446 h 285391"/>
              <a:gd name="T98" fmla="*/ 1190 w 285390"/>
              <a:gd name="T99" fmla="*/ 812232 h 285391"/>
              <a:gd name="T100" fmla="*/ 76660 w 285390"/>
              <a:gd name="T101" fmla="*/ 72760 h 2853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1">
                <a:moveTo>
                  <a:pt x="121785" y="260350"/>
                </a:moveTo>
                <a:lnTo>
                  <a:pt x="162376" y="260350"/>
                </a:lnTo>
                <a:cubicBezTo>
                  <a:pt x="164531" y="260350"/>
                  <a:pt x="166328" y="262255"/>
                  <a:pt x="166328" y="264922"/>
                </a:cubicBezTo>
                <a:cubicBezTo>
                  <a:pt x="166328" y="267208"/>
                  <a:pt x="164531" y="269494"/>
                  <a:pt x="162376" y="269494"/>
                </a:cubicBezTo>
                <a:lnTo>
                  <a:pt x="121785" y="269494"/>
                </a:lnTo>
                <a:cubicBezTo>
                  <a:pt x="119271" y="269494"/>
                  <a:pt x="117475" y="267208"/>
                  <a:pt x="117475" y="264922"/>
                </a:cubicBezTo>
                <a:cubicBezTo>
                  <a:pt x="117475" y="262255"/>
                  <a:pt x="119271" y="260350"/>
                  <a:pt x="121785" y="260350"/>
                </a:cubicBezTo>
                <a:close/>
                <a:moveTo>
                  <a:pt x="8637" y="250526"/>
                </a:moveTo>
                <a:lnTo>
                  <a:pt x="8637" y="263825"/>
                </a:lnTo>
                <a:cubicBezTo>
                  <a:pt x="8637" y="270654"/>
                  <a:pt x="14395" y="276764"/>
                  <a:pt x="21593" y="276764"/>
                </a:cubicBezTo>
                <a:lnTo>
                  <a:pt x="263797" y="276764"/>
                </a:lnTo>
                <a:cubicBezTo>
                  <a:pt x="270995" y="276764"/>
                  <a:pt x="276753" y="270654"/>
                  <a:pt x="276753" y="263825"/>
                </a:cubicBezTo>
                <a:lnTo>
                  <a:pt x="276753" y="250526"/>
                </a:lnTo>
                <a:lnTo>
                  <a:pt x="8637" y="250526"/>
                </a:lnTo>
                <a:close/>
                <a:moveTo>
                  <a:pt x="30230" y="199127"/>
                </a:moveTo>
                <a:lnTo>
                  <a:pt x="10796" y="242259"/>
                </a:lnTo>
                <a:lnTo>
                  <a:pt x="274234" y="242259"/>
                </a:lnTo>
                <a:lnTo>
                  <a:pt x="255160" y="199127"/>
                </a:lnTo>
                <a:lnTo>
                  <a:pt x="30230" y="199127"/>
                </a:lnTo>
                <a:close/>
                <a:moveTo>
                  <a:pt x="203777" y="130170"/>
                </a:moveTo>
                <a:lnTo>
                  <a:pt x="203777" y="156098"/>
                </a:lnTo>
                <a:lnTo>
                  <a:pt x="211354" y="156098"/>
                </a:lnTo>
                <a:cubicBezTo>
                  <a:pt x="218209" y="156098"/>
                  <a:pt x="224342" y="150336"/>
                  <a:pt x="224342" y="143494"/>
                </a:cubicBezTo>
                <a:cubicBezTo>
                  <a:pt x="224342" y="136292"/>
                  <a:pt x="218209" y="130170"/>
                  <a:pt x="211354" y="130170"/>
                </a:cubicBezTo>
                <a:lnTo>
                  <a:pt x="203777" y="130170"/>
                </a:lnTo>
                <a:close/>
                <a:moveTo>
                  <a:pt x="72447" y="130170"/>
                </a:moveTo>
                <a:cubicBezTo>
                  <a:pt x="65232" y="130170"/>
                  <a:pt x="59459" y="136292"/>
                  <a:pt x="59459" y="143494"/>
                </a:cubicBezTo>
                <a:cubicBezTo>
                  <a:pt x="59459" y="150336"/>
                  <a:pt x="65232" y="156098"/>
                  <a:pt x="72447" y="156098"/>
                </a:cubicBezTo>
                <a:lnTo>
                  <a:pt x="79663" y="156098"/>
                </a:lnTo>
                <a:lnTo>
                  <a:pt x="79663" y="130170"/>
                </a:lnTo>
                <a:lnTo>
                  <a:pt x="72447" y="130170"/>
                </a:lnTo>
                <a:close/>
                <a:moveTo>
                  <a:pt x="174053" y="112713"/>
                </a:moveTo>
                <a:cubicBezTo>
                  <a:pt x="176720" y="112713"/>
                  <a:pt x="179006" y="114999"/>
                  <a:pt x="179006" y="117285"/>
                </a:cubicBezTo>
                <a:cubicBezTo>
                  <a:pt x="179006" y="119952"/>
                  <a:pt x="176720" y="121857"/>
                  <a:pt x="174053" y="121857"/>
                </a:cubicBezTo>
                <a:cubicBezTo>
                  <a:pt x="171767" y="121857"/>
                  <a:pt x="169862" y="119952"/>
                  <a:pt x="169862" y="117285"/>
                </a:cubicBezTo>
                <a:cubicBezTo>
                  <a:pt x="169862" y="114999"/>
                  <a:pt x="171767" y="112713"/>
                  <a:pt x="174053" y="112713"/>
                </a:cubicBezTo>
                <a:close/>
                <a:moveTo>
                  <a:pt x="174053" y="92075"/>
                </a:moveTo>
                <a:cubicBezTo>
                  <a:pt x="176720" y="92075"/>
                  <a:pt x="179006" y="93980"/>
                  <a:pt x="179006" y="96647"/>
                </a:cubicBezTo>
                <a:cubicBezTo>
                  <a:pt x="179006" y="99314"/>
                  <a:pt x="176720" y="101219"/>
                  <a:pt x="174053" y="101219"/>
                </a:cubicBezTo>
                <a:cubicBezTo>
                  <a:pt x="171767" y="101219"/>
                  <a:pt x="169862" y="99314"/>
                  <a:pt x="169862" y="96647"/>
                </a:cubicBezTo>
                <a:cubicBezTo>
                  <a:pt x="169862" y="93980"/>
                  <a:pt x="171767" y="92075"/>
                  <a:pt x="174053" y="92075"/>
                </a:cubicBezTo>
                <a:close/>
                <a:moveTo>
                  <a:pt x="174053" y="73025"/>
                </a:moveTo>
                <a:cubicBezTo>
                  <a:pt x="176720" y="73025"/>
                  <a:pt x="179006" y="75311"/>
                  <a:pt x="179006" y="77597"/>
                </a:cubicBezTo>
                <a:cubicBezTo>
                  <a:pt x="179006" y="79883"/>
                  <a:pt x="176720" y="82169"/>
                  <a:pt x="174053" y="82169"/>
                </a:cubicBezTo>
                <a:cubicBezTo>
                  <a:pt x="171767" y="82169"/>
                  <a:pt x="169862" y="79883"/>
                  <a:pt x="169862" y="77597"/>
                </a:cubicBezTo>
                <a:cubicBezTo>
                  <a:pt x="169862" y="75311"/>
                  <a:pt x="171767" y="73025"/>
                  <a:pt x="174053" y="73025"/>
                </a:cubicBezTo>
                <a:close/>
                <a:moveTo>
                  <a:pt x="148936" y="61030"/>
                </a:moveTo>
                <a:lnTo>
                  <a:pt x="148936" y="156098"/>
                </a:lnTo>
                <a:lnTo>
                  <a:pt x="169501" y="156098"/>
                </a:lnTo>
                <a:lnTo>
                  <a:pt x="169501" y="137372"/>
                </a:lnTo>
                <a:cubicBezTo>
                  <a:pt x="169501" y="134852"/>
                  <a:pt x="171306" y="133051"/>
                  <a:pt x="173470" y="133051"/>
                </a:cubicBezTo>
                <a:cubicBezTo>
                  <a:pt x="175996" y="133051"/>
                  <a:pt x="178161" y="134852"/>
                  <a:pt x="178161" y="137372"/>
                </a:cubicBezTo>
                <a:lnTo>
                  <a:pt x="178161" y="156098"/>
                </a:lnTo>
                <a:lnTo>
                  <a:pt x="195479" y="156098"/>
                </a:lnTo>
                <a:lnTo>
                  <a:pt x="195479" y="68232"/>
                </a:lnTo>
                <a:cubicBezTo>
                  <a:pt x="195479" y="64271"/>
                  <a:pt x="191871" y="61030"/>
                  <a:pt x="187902" y="61030"/>
                </a:cubicBezTo>
                <a:lnTo>
                  <a:pt x="148936" y="61030"/>
                </a:lnTo>
                <a:close/>
                <a:moveTo>
                  <a:pt x="120433" y="61030"/>
                </a:moveTo>
                <a:lnTo>
                  <a:pt x="120433" y="156098"/>
                </a:lnTo>
                <a:lnTo>
                  <a:pt x="140277" y="156098"/>
                </a:lnTo>
                <a:lnTo>
                  <a:pt x="140277" y="61030"/>
                </a:lnTo>
                <a:lnTo>
                  <a:pt x="120433" y="61030"/>
                </a:lnTo>
                <a:close/>
                <a:moveTo>
                  <a:pt x="95538" y="61030"/>
                </a:moveTo>
                <a:cubicBezTo>
                  <a:pt x="91570" y="61030"/>
                  <a:pt x="88322" y="64271"/>
                  <a:pt x="88322" y="68232"/>
                </a:cubicBezTo>
                <a:lnTo>
                  <a:pt x="88322" y="156098"/>
                </a:lnTo>
                <a:lnTo>
                  <a:pt x="111413" y="156098"/>
                </a:lnTo>
                <a:lnTo>
                  <a:pt x="111413" y="61030"/>
                </a:lnTo>
                <a:lnTo>
                  <a:pt x="95538" y="61030"/>
                </a:lnTo>
                <a:close/>
                <a:moveTo>
                  <a:pt x="95538" y="52388"/>
                </a:moveTo>
                <a:lnTo>
                  <a:pt x="187902" y="52388"/>
                </a:lnTo>
                <a:cubicBezTo>
                  <a:pt x="196922" y="52388"/>
                  <a:pt x="203777" y="59590"/>
                  <a:pt x="203777" y="68232"/>
                </a:cubicBezTo>
                <a:lnTo>
                  <a:pt x="203777" y="121528"/>
                </a:lnTo>
                <a:lnTo>
                  <a:pt x="211354" y="121528"/>
                </a:lnTo>
                <a:cubicBezTo>
                  <a:pt x="223260" y="121528"/>
                  <a:pt x="233001" y="131251"/>
                  <a:pt x="233001" y="143494"/>
                </a:cubicBezTo>
                <a:cubicBezTo>
                  <a:pt x="233001" y="155017"/>
                  <a:pt x="223260" y="164740"/>
                  <a:pt x="211354" y="164740"/>
                </a:cubicBezTo>
                <a:lnTo>
                  <a:pt x="72447" y="164740"/>
                </a:lnTo>
                <a:cubicBezTo>
                  <a:pt x="60541" y="164740"/>
                  <a:pt x="50800" y="155017"/>
                  <a:pt x="50800" y="143494"/>
                </a:cubicBezTo>
                <a:cubicBezTo>
                  <a:pt x="50800" y="131251"/>
                  <a:pt x="60541" y="121528"/>
                  <a:pt x="72447" y="121528"/>
                </a:cubicBezTo>
                <a:lnTo>
                  <a:pt x="79663" y="121528"/>
                </a:lnTo>
                <a:lnTo>
                  <a:pt x="79663" y="68232"/>
                </a:lnTo>
                <a:cubicBezTo>
                  <a:pt x="79663" y="59590"/>
                  <a:pt x="86879" y="52388"/>
                  <a:pt x="95538" y="52388"/>
                </a:cubicBezTo>
                <a:close/>
                <a:moveTo>
                  <a:pt x="44626" y="8986"/>
                </a:moveTo>
                <a:cubicBezTo>
                  <a:pt x="37788" y="8986"/>
                  <a:pt x="31670" y="14737"/>
                  <a:pt x="31670" y="21925"/>
                </a:cubicBezTo>
                <a:lnTo>
                  <a:pt x="31670" y="190500"/>
                </a:lnTo>
                <a:lnTo>
                  <a:pt x="253720" y="190500"/>
                </a:lnTo>
                <a:lnTo>
                  <a:pt x="253720" y="21925"/>
                </a:lnTo>
                <a:cubicBezTo>
                  <a:pt x="253720" y="14737"/>
                  <a:pt x="247962" y="8986"/>
                  <a:pt x="240764" y="8986"/>
                </a:cubicBezTo>
                <a:lnTo>
                  <a:pt x="44626" y="8986"/>
                </a:lnTo>
                <a:close/>
                <a:moveTo>
                  <a:pt x="44626" y="0"/>
                </a:moveTo>
                <a:lnTo>
                  <a:pt x="240764" y="0"/>
                </a:lnTo>
                <a:cubicBezTo>
                  <a:pt x="252641" y="0"/>
                  <a:pt x="262358" y="9704"/>
                  <a:pt x="262358" y="21925"/>
                </a:cubicBezTo>
                <a:lnTo>
                  <a:pt x="262358" y="193735"/>
                </a:lnTo>
                <a:lnTo>
                  <a:pt x="285030" y="244775"/>
                </a:lnTo>
                <a:cubicBezTo>
                  <a:pt x="285390" y="245134"/>
                  <a:pt x="285390" y="245853"/>
                  <a:pt x="285390" y="246572"/>
                </a:cubicBezTo>
                <a:lnTo>
                  <a:pt x="285390" y="263825"/>
                </a:lnTo>
                <a:cubicBezTo>
                  <a:pt x="285390" y="275686"/>
                  <a:pt x="275673" y="285391"/>
                  <a:pt x="263797" y="285391"/>
                </a:cubicBezTo>
                <a:lnTo>
                  <a:pt x="21593" y="285391"/>
                </a:lnTo>
                <a:cubicBezTo>
                  <a:pt x="9717" y="285391"/>
                  <a:pt x="0" y="275686"/>
                  <a:pt x="0" y="263825"/>
                </a:cubicBezTo>
                <a:lnTo>
                  <a:pt x="0" y="246572"/>
                </a:lnTo>
                <a:cubicBezTo>
                  <a:pt x="0" y="245853"/>
                  <a:pt x="0" y="245134"/>
                  <a:pt x="360" y="244775"/>
                </a:cubicBezTo>
                <a:lnTo>
                  <a:pt x="23032" y="193735"/>
                </a:lnTo>
                <a:lnTo>
                  <a:pt x="23032" y="21925"/>
                </a:lnTo>
                <a:cubicBezTo>
                  <a:pt x="23032" y="9704"/>
                  <a:pt x="32749" y="0"/>
                  <a:pt x="44626" y="0"/>
                </a:cubicBezTo>
                <a:close/>
              </a:path>
            </a:pathLst>
          </a:custGeom>
          <a:solidFill>
            <a:schemeClr val="bg1"/>
          </a:solidFill>
          <a:ln>
            <a:noFill/>
          </a:ln>
          <a:effectLst/>
        </p:spPr>
        <p:txBody>
          <a:bodyPr anchor="ctr"/>
          <a:lstStyle/>
          <a:p>
            <a:endParaRPr lang="en-GB" sz="1600" dirty="0">
              <a:latin typeface="+mj-lt"/>
            </a:endParaRPr>
          </a:p>
        </p:txBody>
      </p:sp>
      <p:sp>
        <p:nvSpPr>
          <p:cNvPr id="77" name="Freeform 1009">
            <a:extLst>
              <a:ext uri="{FF2B5EF4-FFF2-40B4-BE49-F238E27FC236}">
                <a16:creationId xmlns:a16="http://schemas.microsoft.com/office/drawing/2014/main" xmlns="" id="{114DB682-C71F-4AAC-A332-DB42F2F3753C}"/>
              </a:ext>
            </a:extLst>
          </p:cNvPr>
          <p:cNvSpPr>
            <a:spLocks noChangeAspect="1" noChangeArrowheads="1"/>
          </p:cNvSpPr>
          <p:nvPr/>
        </p:nvSpPr>
        <p:spPr bwMode="auto">
          <a:xfrm>
            <a:off x="7825086" y="2551445"/>
            <a:ext cx="270175" cy="270176"/>
          </a:xfrm>
          <a:custGeom>
            <a:avLst/>
            <a:gdLst>
              <a:gd name="T0" fmla="*/ 716343 w 285390"/>
              <a:gd name="T1" fmla="*/ 905477 h 284852"/>
              <a:gd name="T2" fmla="*/ 701970 w 285390"/>
              <a:gd name="T3" fmla="*/ 784020 h 284852"/>
              <a:gd name="T4" fmla="*/ 595903 w 285390"/>
              <a:gd name="T5" fmla="*/ 614444 h 284852"/>
              <a:gd name="T6" fmla="*/ 306476 w 285390"/>
              <a:gd name="T7" fmla="*/ 614444 h 284852"/>
              <a:gd name="T8" fmla="*/ 243373 w 285390"/>
              <a:gd name="T9" fmla="*/ 599000 h 284852"/>
              <a:gd name="T10" fmla="*/ 109467 w 285390"/>
              <a:gd name="T11" fmla="*/ 629893 h 284852"/>
              <a:gd name="T12" fmla="*/ 701970 w 285390"/>
              <a:gd name="T13" fmla="*/ 550815 h 284852"/>
              <a:gd name="T14" fmla="*/ 688792 w 285390"/>
              <a:gd name="T15" fmla="*/ 757300 h 284852"/>
              <a:gd name="T16" fmla="*/ 759471 w 285390"/>
              <a:gd name="T17" fmla="*/ 565387 h 284852"/>
              <a:gd name="T18" fmla="*/ 433012 w 285390"/>
              <a:gd name="T19" fmla="*/ 486343 h 284852"/>
              <a:gd name="T20" fmla="*/ 581526 w 285390"/>
              <a:gd name="T21" fmla="*/ 517243 h 284852"/>
              <a:gd name="T22" fmla="*/ 433012 w 285390"/>
              <a:gd name="T23" fmla="*/ 486343 h 284852"/>
              <a:gd name="T24" fmla="*/ 368677 w 285390"/>
              <a:gd name="T25" fmla="*/ 500501 h 284852"/>
              <a:gd name="T26" fmla="*/ 227213 w 285390"/>
              <a:gd name="T27" fmla="*/ 500501 h 284852"/>
              <a:gd name="T28" fmla="*/ 486489 w 285390"/>
              <a:gd name="T29" fmla="*/ 368328 h 284852"/>
              <a:gd name="T30" fmla="*/ 283797 w 285390"/>
              <a:gd name="T31" fmla="*/ 399221 h 284852"/>
              <a:gd name="T32" fmla="*/ 283797 w 285390"/>
              <a:gd name="T33" fmla="*/ 250306 h 284852"/>
              <a:gd name="T34" fmla="*/ 486489 w 285390"/>
              <a:gd name="T35" fmla="*/ 276011 h 284852"/>
              <a:gd name="T36" fmla="*/ 283797 w 285390"/>
              <a:gd name="T37" fmla="*/ 250306 h 284852"/>
              <a:gd name="T38" fmla="*/ 164536 w 285390"/>
              <a:gd name="T39" fmla="*/ 235122 h 284852"/>
              <a:gd name="T40" fmla="*/ 183927 w 285390"/>
              <a:gd name="T41" fmla="*/ 282149 h 284852"/>
              <a:gd name="T42" fmla="*/ 149991 w 285390"/>
              <a:gd name="T43" fmla="*/ 324352 h 284852"/>
              <a:gd name="T44" fmla="*/ 164536 w 285390"/>
              <a:gd name="T45" fmla="*/ 454573 h 284852"/>
              <a:gd name="T46" fmla="*/ 135445 w 285390"/>
              <a:gd name="T47" fmla="*/ 441311 h 284852"/>
              <a:gd name="T48" fmla="*/ 116055 w 285390"/>
              <a:gd name="T49" fmla="*/ 394284 h 284852"/>
              <a:gd name="T50" fmla="*/ 149991 w 285390"/>
              <a:gd name="T51" fmla="*/ 353295 h 284852"/>
              <a:gd name="T52" fmla="*/ 135445 w 285390"/>
              <a:gd name="T53" fmla="*/ 221860 h 284852"/>
              <a:gd name="T54" fmla="*/ 673219 w 285390"/>
              <a:gd name="T55" fmla="*/ 119637 h 284852"/>
              <a:gd name="T56" fmla="*/ 745094 w 285390"/>
              <a:gd name="T57" fmla="*/ 525311 h 284852"/>
              <a:gd name="T58" fmla="*/ 731915 w 285390"/>
              <a:gd name="T59" fmla="*/ 103846 h 284852"/>
              <a:gd name="T60" fmla="*/ 700775 w 285390"/>
              <a:gd name="T61" fmla="*/ 33399 h 284852"/>
              <a:gd name="T62" fmla="*/ 733118 w 285390"/>
              <a:gd name="T63" fmla="*/ 33399 h 284852"/>
              <a:gd name="T64" fmla="*/ 689988 w 285390"/>
              <a:gd name="T65" fmla="*/ 5462 h 284852"/>
              <a:gd name="T66" fmla="*/ 761864 w 285390"/>
              <a:gd name="T67" fmla="*/ 23678 h 284852"/>
              <a:gd name="T68" fmla="*/ 788219 w 285390"/>
              <a:gd name="T69" fmla="*/ 109923 h 284852"/>
              <a:gd name="T70" fmla="*/ 949932 w 285390"/>
              <a:gd name="T71" fmla="*/ 147574 h 284852"/>
              <a:gd name="T72" fmla="*/ 832542 w 285390"/>
              <a:gd name="T73" fmla="*/ 765802 h 284852"/>
              <a:gd name="T74" fmla="*/ 921185 w 285390"/>
              <a:gd name="T75" fmla="*/ 736651 h 284852"/>
              <a:gd name="T76" fmla="*/ 788219 w 285390"/>
              <a:gd name="T77" fmla="*/ 790090 h 284852"/>
              <a:gd name="T78" fmla="*/ 716343 w 285390"/>
              <a:gd name="T79" fmla="*/ 962567 h 284852"/>
              <a:gd name="T80" fmla="*/ 645670 w 285390"/>
              <a:gd name="T81" fmla="*/ 790090 h 284852"/>
              <a:gd name="T82" fmla="*/ 0 w 285390"/>
              <a:gd name="T83" fmla="*/ 751224 h 284852"/>
              <a:gd name="T84" fmla="*/ 524683 w 285390"/>
              <a:gd name="T85" fmla="*/ 132997 h 284852"/>
              <a:gd name="T86" fmla="*/ 28750 w 285390"/>
              <a:gd name="T87" fmla="*/ 162148 h 284852"/>
              <a:gd name="T88" fmla="*/ 645670 w 285390"/>
              <a:gd name="T89" fmla="*/ 125709 h 284852"/>
              <a:gd name="T90" fmla="*/ 582179 w 285390"/>
              <a:gd name="T91" fmla="*/ 391704 h 284852"/>
              <a:gd name="T92" fmla="*/ 655252 w 285390"/>
              <a:gd name="T93" fmla="*/ 95344 h 284852"/>
              <a:gd name="T94" fmla="*/ 679209 w 285390"/>
              <a:gd name="T95" fmla="*/ 10329 h 2848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0" h="284852">
                <a:moveTo>
                  <a:pt x="210894" y="232015"/>
                </a:moveTo>
                <a:lnTo>
                  <a:pt x="203336" y="235969"/>
                </a:lnTo>
                <a:lnTo>
                  <a:pt x="215212" y="267958"/>
                </a:lnTo>
                <a:lnTo>
                  <a:pt x="227089" y="235969"/>
                </a:lnTo>
                <a:lnTo>
                  <a:pt x="219891" y="232015"/>
                </a:lnTo>
                <a:cubicBezTo>
                  <a:pt x="217012" y="230577"/>
                  <a:pt x="213773" y="230577"/>
                  <a:pt x="210894" y="232015"/>
                </a:cubicBezTo>
                <a:close/>
                <a:moveTo>
                  <a:pt x="96387" y="177261"/>
                </a:moveTo>
                <a:lnTo>
                  <a:pt x="174716" y="177261"/>
                </a:lnTo>
                <a:cubicBezTo>
                  <a:pt x="177231" y="177261"/>
                  <a:pt x="179028" y="179166"/>
                  <a:pt x="179028" y="181833"/>
                </a:cubicBezTo>
                <a:cubicBezTo>
                  <a:pt x="179028" y="184119"/>
                  <a:pt x="177231" y="186405"/>
                  <a:pt x="174716" y="186405"/>
                </a:cubicBezTo>
                <a:lnTo>
                  <a:pt x="96387" y="186405"/>
                </a:lnTo>
                <a:cubicBezTo>
                  <a:pt x="94231" y="186405"/>
                  <a:pt x="92075" y="184119"/>
                  <a:pt x="92075" y="181833"/>
                </a:cubicBezTo>
                <a:cubicBezTo>
                  <a:pt x="92075" y="179166"/>
                  <a:pt x="94231" y="177261"/>
                  <a:pt x="96387" y="177261"/>
                </a:cubicBezTo>
                <a:close/>
                <a:moveTo>
                  <a:pt x="32886" y="177261"/>
                </a:moveTo>
                <a:lnTo>
                  <a:pt x="73117" y="177261"/>
                </a:lnTo>
                <a:cubicBezTo>
                  <a:pt x="75632" y="177261"/>
                  <a:pt x="77428" y="179166"/>
                  <a:pt x="77428" y="181833"/>
                </a:cubicBezTo>
                <a:cubicBezTo>
                  <a:pt x="77428" y="184119"/>
                  <a:pt x="75632" y="186405"/>
                  <a:pt x="73117" y="186405"/>
                </a:cubicBezTo>
                <a:lnTo>
                  <a:pt x="32886" y="186405"/>
                </a:lnTo>
                <a:cubicBezTo>
                  <a:pt x="30731" y="186405"/>
                  <a:pt x="28575" y="184119"/>
                  <a:pt x="28575" y="181833"/>
                </a:cubicBezTo>
                <a:cubicBezTo>
                  <a:pt x="28575" y="179166"/>
                  <a:pt x="30731" y="177261"/>
                  <a:pt x="32886" y="177261"/>
                </a:cubicBezTo>
                <a:close/>
                <a:moveTo>
                  <a:pt x="210894" y="163003"/>
                </a:moveTo>
                <a:lnTo>
                  <a:pt x="202257" y="167316"/>
                </a:lnTo>
                <a:lnTo>
                  <a:pt x="202257" y="226624"/>
                </a:lnTo>
                <a:lnTo>
                  <a:pt x="206935" y="224107"/>
                </a:lnTo>
                <a:cubicBezTo>
                  <a:pt x="212333" y="221591"/>
                  <a:pt x="218451" y="221591"/>
                  <a:pt x="223850" y="224107"/>
                </a:cubicBezTo>
                <a:lnTo>
                  <a:pt x="228168" y="226624"/>
                </a:lnTo>
                <a:lnTo>
                  <a:pt x="228168" y="167316"/>
                </a:lnTo>
                <a:lnTo>
                  <a:pt x="219891" y="163003"/>
                </a:lnTo>
                <a:cubicBezTo>
                  <a:pt x="217012" y="161565"/>
                  <a:pt x="213773" y="161565"/>
                  <a:pt x="210894" y="163003"/>
                </a:cubicBezTo>
                <a:close/>
                <a:moveTo>
                  <a:pt x="130090" y="143923"/>
                </a:moveTo>
                <a:lnTo>
                  <a:pt x="174709" y="143923"/>
                </a:lnTo>
                <a:cubicBezTo>
                  <a:pt x="177228" y="143923"/>
                  <a:pt x="179027" y="145828"/>
                  <a:pt x="179027" y="148114"/>
                </a:cubicBezTo>
                <a:cubicBezTo>
                  <a:pt x="179027" y="150781"/>
                  <a:pt x="177228" y="153067"/>
                  <a:pt x="174709" y="153067"/>
                </a:cubicBezTo>
                <a:lnTo>
                  <a:pt x="130090" y="153067"/>
                </a:lnTo>
                <a:cubicBezTo>
                  <a:pt x="127571" y="153067"/>
                  <a:pt x="125412" y="150781"/>
                  <a:pt x="125412" y="148114"/>
                </a:cubicBezTo>
                <a:cubicBezTo>
                  <a:pt x="125412" y="145828"/>
                  <a:pt x="127571" y="143923"/>
                  <a:pt x="130090" y="143923"/>
                </a:cubicBezTo>
                <a:close/>
                <a:moveTo>
                  <a:pt x="72621" y="143923"/>
                </a:moveTo>
                <a:lnTo>
                  <a:pt x="106766" y="143923"/>
                </a:lnTo>
                <a:cubicBezTo>
                  <a:pt x="108946" y="143923"/>
                  <a:pt x="110762" y="145828"/>
                  <a:pt x="110762" y="148114"/>
                </a:cubicBezTo>
                <a:cubicBezTo>
                  <a:pt x="110762" y="150781"/>
                  <a:pt x="108946" y="153067"/>
                  <a:pt x="106766" y="153067"/>
                </a:cubicBezTo>
                <a:lnTo>
                  <a:pt x="72621" y="153067"/>
                </a:lnTo>
                <a:cubicBezTo>
                  <a:pt x="70442" y="153067"/>
                  <a:pt x="68262" y="150781"/>
                  <a:pt x="68262" y="148114"/>
                </a:cubicBezTo>
                <a:cubicBezTo>
                  <a:pt x="68262" y="145828"/>
                  <a:pt x="70442" y="143923"/>
                  <a:pt x="72621" y="143923"/>
                </a:cubicBezTo>
                <a:close/>
                <a:moveTo>
                  <a:pt x="85261" y="108998"/>
                </a:moveTo>
                <a:lnTo>
                  <a:pt x="146156" y="108998"/>
                </a:lnTo>
                <a:cubicBezTo>
                  <a:pt x="148663" y="108998"/>
                  <a:pt x="150454" y="111284"/>
                  <a:pt x="150454" y="113951"/>
                </a:cubicBezTo>
                <a:cubicBezTo>
                  <a:pt x="150454" y="116237"/>
                  <a:pt x="148663" y="118142"/>
                  <a:pt x="146156" y="118142"/>
                </a:cubicBezTo>
                <a:lnTo>
                  <a:pt x="85261" y="118142"/>
                </a:lnTo>
                <a:cubicBezTo>
                  <a:pt x="82753" y="118142"/>
                  <a:pt x="80962" y="116237"/>
                  <a:pt x="80962" y="113951"/>
                </a:cubicBezTo>
                <a:cubicBezTo>
                  <a:pt x="80962" y="111284"/>
                  <a:pt x="82753" y="108998"/>
                  <a:pt x="85261" y="108998"/>
                </a:cubicBezTo>
                <a:close/>
                <a:moveTo>
                  <a:pt x="85261" y="74073"/>
                </a:moveTo>
                <a:lnTo>
                  <a:pt x="146156" y="74073"/>
                </a:lnTo>
                <a:cubicBezTo>
                  <a:pt x="148663" y="74073"/>
                  <a:pt x="150454" y="75727"/>
                  <a:pt x="150454" y="77711"/>
                </a:cubicBezTo>
                <a:cubicBezTo>
                  <a:pt x="150454" y="80026"/>
                  <a:pt x="148663" y="81680"/>
                  <a:pt x="146156" y="81680"/>
                </a:cubicBezTo>
                <a:lnTo>
                  <a:pt x="85261" y="81680"/>
                </a:lnTo>
                <a:cubicBezTo>
                  <a:pt x="82753" y="81680"/>
                  <a:pt x="80962" y="80026"/>
                  <a:pt x="80962" y="77711"/>
                </a:cubicBezTo>
                <a:cubicBezTo>
                  <a:pt x="80962" y="75727"/>
                  <a:pt x="82753" y="74073"/>
                  <a:pt x="85261" y="74073"/>
                </a:cubicBezTo>
                <a:close/>
                <a:moveTo>
                  <a:pt x="45062" y="61373"/>
                </a:moveTo>
                <a:cubicBezTo>
                  <a:pt x="47610" y="61373"/>
                  <a:pt x="49431" y="63514"/>
                  <a:pt x="49431" y="65655"/>
                </a:cubicBezTo>
                <a:lnTo>
                  <a:pt x="49431" y="69580"/>
                </a:lnTo>
                <a:cubicBezTo>
                  <a:pt x="55621" y="70650"/>
                  <a:pt x="60718" y="74575"/>
                  <a:pt x="63267" y="80285"/>
                </a:cubicBezTo>
                <a:cubicBezTo>
                  <a:pt x="64359" y="82069"/>
                  <a:pt x="63267" y="84923"/>
                  <a:pt x="60718" y="85637"/>
                </a:cubicBezTo>
                <a:cubicBezTo>
                  <a:pt x="58533" y="86707"/>
                  <a:pt x="55985" y="85637"/>
                  <a:pt x="55257" y="83496"/>
                </a:cubicBezTo>
                <a:cubicBezTo>
                  <a:pt x="53436" y="79928"/>
                  <a:pt x="49431" y="77430"/>
                  <a:pt x="45062" y="77430"/>
                </a:cubicBezTo>
                <a:cubicBezTo>
                  <a:pt x="39236" y="77430"/>
                  <a:pt x="34503" y="81712"/>
                  <a:pt x="34503" y="86707"/>
                </a:cubicBezTo>
                <a:cubicBezTo>
                  <a:pt x="34503" y="92773"/>
                  <a:pt x="38144" y="95985"/>
                  <a:pt x="45062" y="95985"/>
                </a:cubicBezTo>
                <a:cubicBezTo>
                  <a:pt x="59626" y="95985"/>
                  <a:pt x="64723" y="104905"/>
                  <a:pt x="64723" y="113469"/>
                </a:cubicBezTo>
                <a:cubicBezTo>
                  <a:pt x="64723" y="121676"/>
                  <a:pt x="57805" y="128813"/>
                  <a:pt x="49431" y="130954"/>
                </a:cubicBezTo>
                <a:lnTo>
                  <a:pt x="49431" y="134522"/>
                </a:lnTo>
                <a:cubicBezTo>
                  <a:pt x="49431" y="136663"/>
                  <a:pt x="47610" y="138804"/>
                  <a:pt x="45062" y="138804"/>
                </a:cubicBezTo>
                <a:cubicBezTo>
                  <a:pt x="42513" y="138804"/>
                  <a:pt x="40692" y="136663"/>
                  <a:pt x="40692" y="134522"/>
                </a:cubicBezTo>
                <a:lnTo>
                  <a:pt x="40692" y="130597"/>
                </a:lnTo>
                <a:cubicBezTo>
                  <a:pt x="34503" y="129526"/>
                  <a:pt x="29405" y="125601"/>
                  <a:pt x="27220" y="119892"/>
                </a:cubicBezTo>
                <a:cubicBezTo>
                  <a:pt x="26128" y="117751"/>
                  <a:pt x="27220" y="115253"/>
                  <a:pt x="29405" y="114183"/>
                </a:cubicBezTo>
                <a:cubicBezTo>
                  <a:pt x="31590" y="113469"/>
                  <a:pt x="34139" y="114540"/>
                  <a:pt x="34867" y="116681"/>
                </a:cubicBezTo>
                <a:cubicBezTo>
                  <a:pt x="36687" y="120249"/>
                  <a:pt x="40692" y="122747"/>
                  <a:pt x="45062" y="122747"/>
                </a:cubicBezTo>
                <a:cubicBezTo>
                  <a:pt x="50887" y="122747"/>
                  <a:pt x="55985" y="118465"/>
                  <a:pt x="55985" y="113469"/>
                </a:cubicBezTo>
                <a:cubicBezTo>
                  <a:pt x="55985" y="107403"/>
                  <a:pt x="52344" y="104549"/>
                  <a:pt x="45062" y="104549"/>
                </a:cubicBezTo>
                <a:cubicBezTo>
                  <a:pt x="30862" y="104549"/>
                  <a:pt x="25400" y="95271"/>
                  <a:pt x="25400" y="86707"/>
                </a:cubicBezTo>
                <a:cubicBezTo>
                  <a:pt x="25400" y="78144"/>
                  <a:pt x="31954" y="71007"/>
                  <a:pt x="40692" y="69580"/>
                </a:cubicBezTo>
                <a:lnTo>
                  <a:pt x="40692" y="65655"/>
                </a:lnTo>
                <a:cubicBezTo>
                  <a:pt x="40692" y="63514"/>
                  <a:pt x="42513" y="61373"/>
                  <a:pt x="45062" y="61373"/>
                </a:cubicBezTo>
                <a:close/>
                <a:moveTo>
                  <a:pt x="210894" y="30732"/>
                </a:moveTo>
                <a:lnTo>
                  <a:pt x="202257" y="35404"/>
                </a:lnTo>
                <a:lnTo>
                  <a:pt x="202257" y="157612"/>
                </a:lnTo>
                <a:lnTo>
                  <a:pt x="206935" y="155455"/>
                </a:lnTo>
                <a:cubicBezTo>
                  <a:pt x="212333" y="152580"/>
                  <a:pt x="218451" y="152580"/>
                  <a:pt x="223850" y="155455"/>
                </a:cubicBezTo>
                <a:lnTo>
                  <a:pt x="228168" y="157612"/>
                </a:lnTo>
                <a:lnTo>
                  <a:pt x="228168" y="35404"/>
                </a:lnTo>
                <a:lnTo>
                  <a:pt x="219891" y="30732"/>
                </a:lnTo>
                <a:cubicBezTo>
                  <a:pt x="217012" y="29294"/>
                  <a:pt x="213773" y="29294"/>
                  <a:pt x="210894" y="30732"/>
                </a:cubicBezTo>
                <a:close/>
                <a:moveTo>
                  <a:pt x="211254" y="9525"/>
                </a:moveTo>
                <a:lnTo>
                  <a:pt x="210534" y="9884"/>
                </a:lnTo>
                <a:lnTo>
                  <a:pt x="210534" y="21746"/>
                </a:lnTo>
                <a:cubicBezTo>
                  <a:pt x="213773" y="21027"/>
                  <a:pt x="217012" y="21027"/>
                  <a:pt x="220251" y="21746"/>
                </a:cubicBezTo>
                <a:lnTo>
                  <a:pt x="220251" y="9884"/>
                </a:lnTo>
                <a:lnTo>
                  <a:pt x="219531" y="9525"/>
                </a:lnTo>
                <a:cubicBezTo>
                  <a:pt x="216652" y="8087"/>
                  <a:pt x="213773" y="8087"/>
                  <a:pt x="211254" y="9525"/>
                </a:cubicBezTo>
                <a:close/>
                <a:moveTo>
                  <a:pt x="207295" y="1617"/>
                </a:moveTo>
                <a:cubicBezTo>
                  <a:pt x="212333" y="-539"/>
                  <a:pt x="218451" y="-539"/>
                  <a:pt x="223490" y="1617"/>
                </a:cubicBezTo>
                <a:lnTo>
                  <a:pt x="226369" y="3055"/>
                </a:lnTo>
                <a:cubicBezTo>
                  <a:pt x="228168" y="3774"/>
                  <a:pt x="228888" y="5571"/>
                  <a:pt x="228888" y="7009"/>
                </a:cubicBezTo>
                <a:lnTo>
                  <a:pt x="228888" y="25699"/>
                </a:lnTo>
                <a:lnTo>
                  <a:pt x="234646" y="28575"/>
                </a:lnTo>
                <a:cubicBezTo>
                  <a:pt x="236086" y="29653"/>
                  <a:pt x="236806" y="31091"/>
                  <a:pt x="236806" y="32529"/>
                </a:cubicBezTo>
                <a:lnTo>
                  <a:pt x="236806" y="39358"/>
                </a:lnTo>
                <a:lnTo>
                  <a:pt x="281072" y="39358"/>
                </a:lnTo>
                <a:cubicBezTo>
                  <a:pt x="283231" y="39358"/>
                  <a:pt x="285390" y="41515"/>
                  <a:pt x="285390" y="43671"/>
                </a:cubicBezTo>
                <a:lnTo>
                  <a:pt x="285390" y="222310"/>
                </a:lnTo>
                <a:cubicBezTo>
                  <a:pt x="285390" y="224467"/>
                  <a:pt x="283231" y="226624"/>
                  <a:pt x="281072" y="226624"/>
                </a:cubicBezTo>
                <a:lnTo>
                  <a:pt x="250121" y="226624"/>
                </a:lnTo>
                <a:cubicBezTo>
                  <a:pt x="247602" y="226624"/>
                  <a:pt x="245443" y="224467"/>
                  <a:pt x="245443" y="222310"/>
                </a:cubicBezTo>
                <a:cubicBezTo>
                  <a:pt x="245443" y="219794"/>
                  <a:pt x="247602" y="217997"/>
                  <a:pt x="250121" y="217997"/>
                </a:cubicBezTo>
                <a:lnTo>
                  <a:pt x="276753" y="217997"/>
                </a:lnTo>
                <a:lnTo>
                  <a:pt x="276753" y="47984"/>
                </a:lnTo>
                <a:lnTo>
                  <a:pt x="236806" y="47984"/>
                </a:lnTo>
                <a:lnTo>
                  <a:pt x="236806" y="233812"/>
                </a:lnTo>
                <a:cubicBezTo>
                  <a:pt x="236806" y="234172"/>
                  <a:pt x="236806" y="234890"/>
                  <a:pt x="236806" y="235250"/>
                </a:cubicBezTo>
                <a:lnTo>
                  <a:pt x="219531" y="282336"/>
                </a:lnTo>
                <a:cubicBezTo>
                  <a:pt x="218811" y="283773"/>
                  <a:pt x="217012" y="284852"/>
                  <a:pt x="215212" y="284852"/>
                </a:cubicBezTo>
                <a:cubicBezTo>
                  <a:pt x="213413" y="284852"/>
                  <a:pt x="211973" y="283773"/>
                  <a:pt x="211254" y="282336"/>
                </a:cubicBezTo>
                <a:lnTo>
                  <a:pt x="193979" y="235250"/>
                </a:lnTo>
                <a:cubicBezTo>
                  <a:pt x="193979" y="234890"/>
                  <a:pt x="193979" y="234172"/>
                  <a:pt x="193979" y="233812"/>
                </a:cubicBezTo>
                <a:lnTo>
                  <a:pt x="193979" y="226624"/>
                </a:lnTo>
                <a:lnTo>
                  <a:pt x="4318" y="226624"/>
                </a:lnTo>
                <a:cubicBezTo>
                  <a:pt x="1799" y="226624"/>
                  <a:pt x="0" y="224467"/>
                  <a:pt x="0" y="222310"/>
                </a:cubicBezTo>
                <a:lnTo>
                  <a:pt x="0" y="43671"/>
                </a:lnTo>
                <a:cubicBezTo>
                  <a:pt x="0" y="41515"/>
                  <a:pt x="1799" y="39358"/>
                  <a:pt x="4318" y="39358"/>
                </a:cubicBezTo>
                <a:lnTo>
                  <a:pt x="157631" y="39358"/>
                </a:lnTo>
                <a:cubicBezTo>
                  <a:pt x="159790" y="39358"/>
                  <a:pt x="161949" y="41515"/>
                  <a:pt x="161949" y="43671"/>
                </a:cubicBezTo>
                <a:cubicBezTo>
                  <a:pt x="161949" y="46187"/>
                  <a:pt x="159790" y="47984"/>
                  <a:pt x="157631" y="47984"/>
                </a:cubicBezTo>
                <a:lnTo>
                  <a:pt x="8637" y="47984"/>
                </a:lnTo>
                <a:lnTo>
                  <a:pt x="8637" y="217997"/>
                </a:lnTo>
                <a:lnTo>
                  <a:pt x="193979" y="217997"/>
                </a:lnTo>
                <a:lnTo>
                  <a:pt x="193979" y="37201"/>
                </a:lnTo>
                <a:cubicBezTo>
                  <a:pt x="185342" y="38998"/>
                  <a:pt x="179224" y="45109"/>
                  <a:pt x="179224" y="52657"/>
                </a:cubicBezTo>
                <a:lnTo>
                  <a:pt x="179224" y="111604"/>
                </a:lnTo>
                <a:cubicBezTo>
                  <a:pt x="179224" y="114120"/>
                  <a:pt x="177424" y="115917"/>
                  <a:pt x="174905" y="115917"/>
                </a:cubicBezTo>
                <a:cubicBezTo>
                  <a:pt x="172746" y="115917"/>
                  <a:pt x="170587" y="114120"/>
                  <a:pt x="170587" y="111604"/>
                </a:cubicBezTo>
                <a:lnTo>
                  <a:pt x="170587" y="52657"/>
                </a:lnTo>
                <a:cubicBezTo>
                  <a:pt x="170587" y="39358"/>
                  <a:pt x="182103" y="28934"/>
                  <a:pt x="196858" y="28215"/>
                </a:cubicBezTo>
                <a:lnTo>
                  <a:pt x="201897" y="25699"/>
                </a:lnTo>
                <a:lnTo>
                  <a:pt x="201897" y="7009"/>
                </a:lnTo>
                <a:cubicBezTo>
                  <a:pt x="201897" y="5571"/>
                  <a:pt x="202616" y="3774"/>
                  <a:pt x="204056" y="3055"/>
                </a:cubicBezTo>
                <a:lnTo>
                  <a:pt x="207295" y="1617"/>
                </a:lnTo>
                <a:close/>
              </a:path>
            </a:pathLst>
          </a:custGeom>
          <a:solidFill>
            <a:schemeClr val="bg1"/>
          </a:solidFill>
          <a:ln>
            <a:noFill/>
          </a:ln>
          <a:effectLst/>
        </p:spPr>
        <p:txBody>
          <a:bodyPr anchor="ctr"/>
          <a:lstStyle/>
          <a:p>
            <a:endParaRPr lang="en-GB" sz="1600" dirty="0">
              <a:latin typeface="+mj-lt"/>
            </a:endParaRPr>
          </a:p>
        </p:txBody>
      </p:sp>
    </p:spTree>
    <p:extLst>
      <p:ext uri="{BB962C8B-B14F-4D97-AF65-F5344CB8AC3E}">
        <p14:creationId xmlns:p14="http://schemas.microsoft.com/office/powerpoint/2010/main" val="3647196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3042" y="444133"/>
            <a:ext cx="10930754" cy="697353"/>
          </a:xfrm>
        </p:spPr>
        <p:txBody>
          <a:bodyPr>
            <a:noAutofit/>
          </a:bodyPr>
          <a:lstStyle/>
          <a:p>
            <a:r>
              <a:rPr lang="en-GB" dirty="0"/>
              <a:t>Finanzierungsoptionen - Finanzielle Umstrukturierung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91306" y="1968094"/>
            <a:ext cx="3571576" cy="369875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finanzielle Restrukturierung findet auf zwei Ebenen der Bilanz statt: </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Auf der Aktivseite der Bilanz gibt es interne Finanzierungsmöglichkeiten</a:t>
            </a:r>
          </a:p>
          <a:p>
            <a:pPr marL="285750" indent="-285750" algn="l">
              <a:lnSpc>
                <a:spcPct val="100000"/>
              </a:lnSpc>
              <a:spcBef>
                <a:spcPts val="600"/>
              </a:spcBef>
              <a:buFont typeface="Wingdings" panose="05000000000000000000" pitchFamily="2" charset="2"/>
              <a:buChar char="à"/>
            </a:pPr>
            <a:r>
              <a:rPr lang="en-GB" sz="2200" dirty="0">
                <a:solidFill>
                  <a:srgbClr val="245473"/>
                </a:solidFill>
                <a:latin typeface="+mj-lt"/>
                <a:ea typeface="Open Sans Light" panose="020B0306030504020204" pitchFamily="34" charset="0"/>
                <a:cs typeface="Open Sans Light" panose="020B0306030504020204" pitchFamily="34" charset="0"/>
              </a:rPr>
              <a:t>Auf der Passivseite besteht die Möglichkeit der Zuführung von Eigen- oder Fremdkapital</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8" name="Rechteck 37">
            <a:extLst>
              <a:ext uri="{FF2B5EF4-FFF2-40B4-BE49-F238E27FC236}">
                <a16:creationId xmlns:a16="http://schemas.microsoft.com/office/drawing/2014/main" xmlns="" id="{51068E99-5015-4C83-950F-6F983302AE4C}"/>
              </a:ext>
            </a:extLst>
          </p:cNvPr>
          <p:cNvSpPr/>
          <p:nvPr/>
        </p:nvSpPr>
        <p:spPr>
          <a:xfrm>
            <a:off x="4330590" y="2414512"/>
            <a:ext cx="6203872" cy="456742"/>
          </a:xfrm>
          <a:prstGeom prst="rect">
            <a:avLst/>
          </a:prstGeom>
          <a:solidFill>
            <a:srgbClr val="F95C2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bg1"/>
                </a:solidFill>
                <a:latin typeface="+mj-lt"/>
              </a:rPr>
              <a:t>Bilanz</a:t>
            </a:r>
          </a:p>
        </p:txBody>
      </p:sp>
      <p:sp>
        <p:nvSpPr>
          <p:cNvPr id="41" name="Rechteck 40">
            <a:extLst>
              <a:ext uri="{FF2B5EF4-FFF2-40B4-BE49-F238E27FC236}">
                <a16:creationId xmlns:a16="http://schemas.microsoft.com/office/drawing/2014/main" xmlns="" id="{A94286E9-E6F4-41BD-A9A8-388D247CC654}"/>
              </a:ext>
            </a:extLst>
          </p:cNvPr>
          <p:cNvSpPr/>
          <p:nvPr/>
        </p:nvSpPr>
        <p:spPr>
          <a:xfrm>
            <a:off x="4326689" y="2871253"/>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err="1">
                <a:solidFill>
                  <a:schemeClr val="bg1"/>
                </a:solidFill>
              </a:rPr>
              <a:t>Aktiva</a:t>
            </a:r>
            <a:endParaRPr lang="en-GB" sz="1600" b="1" dirty="0">
              <a:solidFill>
                <a:schemeClr val="bg1"/>
              </a:solidFill>
            </a:endParaRPr>
          </a:p>
        </p:txBody>
      </p:sp>
      <p:sp>
        <p:nvSpPr>
          <p:cNvPr id="42" name="Rechteck 41">
            <a:extLst>
              <a:ext uri="{FF2B5EF4-FFF2-40B4-BE49-F238E27FC236}">
                <a16:creationId xmlns:a16="http://schemas.microsoft.com/office/drawing/2014/main" xmlns="" id="{D83C8517-C09B-4C81-89DA-A5F7751B0218}"/>
              </a:ext>
            </a:extLst>
          </p:cNvPr>
          <p:cNvSpPr/>
          <p:nvPr/>
        </p:nvSpPr>
        <p:spPr>
          <a:xfrm>
            <a:off x="7427324" y="2871254"/>
            <a:ext cx="3104537" cy="456742"/>
          </a:xfrm>
          <a:prstGeom prst="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err="1">
                <a:solidFill>
                  <a:schemeClr val="bg1"/>
                </a:solidFill>
              </a:rPr>
              <a:t>Passiva</a:t>
            </a:r>
            <a:endParaRPr lang="en-GB" sz="1600" b="1" dirty="0">
              <a:solidFill>
                <a:schemeClr val="bg1"/>
              </a:solidFill>
            </a:endParaRPr>
          </a:p>
        </p:txBody>
      </p:sp>
      <p:cxnSp>
        <p:nvCxnSpPr>
          <p:cNvPr id="9" name="Gerader Verbinder 8">
            <a:extLst>
              <a:ext uri="{FF2B5EF4-FFF2-40B4-BE49-F238E27FC236}">
                <a16:creationId xmlns:a16="http://schemas.microsoft.com/office/drawing/2014/main" xmlns="" id="{1937410F-E639-4C39-BEA0-FCE28F60D688}"/>
              </a:ext>
            </a:extLst>
          </p:cNvPr>
          <p:cNvCxnSpPr/>
          <p:nvPr/>
        </p:nvCxnSpPr>
        <p:spPr>
          <a:xfrm>
            <a:off x="4330590" y="2871254"/>
            <a:ext cx="620127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xmlns="" id="{A05081F6-6692-4A85-B2AD-8A5DCD286F59}"/>
              </a:ext>
            </a:extLst>
          </p:cNvPr>
          <p:cNvSpPr/>
          <p:nvPr/>
        </p:nvSpPr>
        <p:spPr>
          <a:xfrm>
            <a:off x="4330590"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sp>
        <p:nvSpPr>
          <p:cNvPr id="44" name="Rechteck 43">
            <a:extLst>
              <a:ext uri="{FF2B5EF4-FFF2-40B4-BE49-F238E27FC236}">
                <a16:creationId xmlns:a16="http://schemas.microsoft.com/office/drawing/2014/main" xmlns="" id="{1C9C59F1-0582-4795-A930-1A14F198C3CC}"/>
              </a:ext>
            </a:extLst>
          </p:cNvPr>
          <p:cNvSpPr/>
          <p:nvPr/>
        </p:nvSpPr>
        <p:spPr>
          <a:xfrm>
            <a:off x="7427324" y="3327995"/>
            <a:ext cx="3104537" cy="2184643"/>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solidFill>
                <a:schemeClr val="bg1"/>
              </a:solidFill>
            </a:endParaRPr>
          </a:p>
        </p:txBody>
      </p:sp>
      <p:cxnSp>
        <p:nvCxnSpPr>
          <p:cNvPr id="45" name="Gerader Verbinder 44">
            <a:extLst>
              <a:ext uri="{FF2B5EF4-FFF2-40B4-BE49-F238E27FC236}">
                <a16:creationId xmlns:a16="http://schemas.microsoft.com/office/drawing/2014/main" xmlns="" id="{8F9151E2-99B0-499F-A3CB-C8A32C99701E}"/>
              </a:ext>
            </a:extLst>
          </p:cNvPr>
          <p:cNvCxnSpPr>
            <a:cxnSpLocks/>
            <a:stCxn id="38" idx="2"/>
          </p:cNvCxnSpPr>
          <p:nvPr/>
        </p:nvCxnSpPr>
        <p:spPr>
          <a:xfrm>
            <a:off x="7432526" y="2871254"/>
            <a:ext cx="2601" cy="264138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46" name="Rechteck 45">
            <a:extLst>
              <a:ext uri="{FF2B5EF4-FFF2-40B4-BE49-F238E27FC236}">
                <a16:creationId xmlns:a16="http://schemas.microsoft.com/office/drawing/2014/main" xmlns="" id="{5FA8218B-BF3B-4E32-ADC4-A03A77893C2E}"/>
              </a:ext>
            </a:extLst>
          </p:cNvPr>
          <p:cNvSpPr/>
          <p:nvPr/>
        </p:nvSpPr>
        <p:spPr>
          <a:xfrm>
            <a:off x="4459230"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Anlagevermögen</a:t>
            </a:r>
            <a:endParaRPr lang="en-GB" sz="1600" b="1" dirty="0">
              <a:solidFill>
                <a:schemeClr val="bg1"/>
              </a:solidFill>
            </a:endParaRPr>
          </a:p>
        </p:txBody>
      </p:sp>
      <p:sp>
        <p:nvSpPr>
          <p:cNvPr id="47" name="Rechteck 46">
            <a:extLst>
              <a:ext uri="{FF2B5EF4-FFF2-40B4-BE49-F238E27FC236}">
                <a16:creationId xmlns:a16="http://schemas.microsoft.com/office/drawing/2014/main" xmlns="" id="{83C64FB2-9188-463D-8A39-121A0410577D}"/>
              </a:ext>
            </a:extLst>
          </p:cNvPr>
          <p:cNvSpPr/>
          <p:nvPr/>
        </p:nvSpPr>
        <p:spPr>
          <a:xfrm>
            <a:off x="4459230"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Umlaufvermögen</a:t>
            </a:r>
            <a:endParaRPr lang="en-GB" sz="1600" b="1" dirty="0">
              <a:solidFill>
                <a:schemeClr val="bg1"/>
              </a:solidFill>
            </a:endParaRPr>
          </a:p>
        </p:txBody>
      </p:sp>
      <p:sp>
        <p:nvSpPr>
          <p:cNvPr id="48" name="Rechteck 47">
            <a:extLst>
              <a:ext uri="{FF2B5EF4-FFF2-40B4-BE49-F238E27FC236}">
                <a16:creationId xmlns:a16="http://schemas.microsoft.com/office/drawing/2014/main" xmlns="" id="{4F13DAB9-F84D-436D-BFFB-85F9F76DBE64}"/>
              </a:ext>
            </a:extLst>
          </p:cNvPr>
          <p:cNvSpPr/>
          <p:nvPr/>
        </p:nvSpPr>
        <p:spPr>
          <a:xfrm>
            <a:off x="7555964" y="3457480"/>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Eigenkapital</a:t>
            </a:r>
            <a:endParaRPr lang="en-GB" sz="1600" b="1" dirty="0">
              <a:solidFill>
                <a:schemeClr val="bg1"/>
              </a:solidFill>
            </a:endParaRPr>
          </a:p>
        </p:txBody>
      </p:sp>
      <p:sp>
        <p:nvSpPr>
          <p:cNvPr id="49" name="Rechteck 48">
            <a:extLst>
              <a:ext uri="{FF2B5EF4-FFF2-40B4-BE49-F238E27FC236}">
                <a16:creationId xmlns:a16="http://schemas.microsoft.com/office/drawing/2014/main" xmlns="" id="{520176C7-2969-442B-B530-61FD7945C71E}"/>
              </a:ext>
            </a:extLst>
          </p:cNvPr>
          <p:cNvSpPr/>
          <p:nvPr/>
        </p:nvSpPr>
        <p:spPr>
          <a:xfrm>
            <a:off x="7555964" y="4266207"/>
            <a:ext cx="2839454" cy="456742"/>
          </a:xfrm>
          <a:prstGeom prst="rect">
            <a:avLst/>
          </a:prstGeom>
          <a:solidFill>
            <a:schemeClr val="bg2">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a:solidFill>
                  <a:schemeClr val="bg1"/>
                </a:solidFill>
              </a:rPr>
              <a:t>Fremdkapital</a:t>
            </a:r>
            <a:endParaRPr lang="en-GB" sz="1600" b="1" dirty="0">
              <a:solidFill>
                <a:schemeClr val="bg1"/>
              </a:solidFill>
            </a:endParaRPr>
          </a:p>
        </p:txBody>
      </p:sp>
      <p:sp>
        <p:nvSpPr>
          <p:cNvPr id="13" name="Pfeil: nach rechts 12">
            <a:extLst>
              <a:ext uri="{FF2B5EF4-FFF2-40B4-BE49-F238E27FC236}">
                <a16:creationId xmlns:a16="http://schemas.microsoft.com/office/drawing/2014/main" xmlns="" id="{8E45650E-5F28-46C9-9355-1548733FA94C}"/>
              </a:ext>
            </a:extLst>
          </p:cNvPr>
          <p:cNvSpPr/>
          <p:nvPr/>
        </p:nvSpPr>
        <p:spPr>
          <a:xfrm rot="10800000">
            <a:off x="10395417" y="3330109"/>
            <a:ext cx="974752"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Pfeil: nach rechts 49">
            <a:extLst>
              <a:ext uri="{FF2B5EF4-FFF2-40B4-BE49-F238E27FC236}">
                <a16:creationId xmlns:a16="http://schemas.microsoft.com/office/drawing/2014/main" xmlns="" id="{C3FB6441-29E5-4A24-B584-2B95AFBC7116}"/>
              </a:ext>
            </a:extLst>
          </p:cNvPr>
          <p:cNvSpPr/>
          <p:nvPr/>
        </p:nvSpPr>
        <p:spPr>
          <a:xfrm rot="10800000">
            <a:off x="10395417" y="4146661"/>
            <a:ext cx="974753" cy="697351"/>
          </a:xfrm>
          <a:prstGeom prst="right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Pfeil: nach oben gekrümmt 13">
            <a:extLst>
              <a:ext uri="{FF2B5EF4-FFF2-40B4-BE49-F238E27FC236}">
                <a16:creationId xmlns:a16="http://schemas.microsoft.com/office/drawing/2014/main" xmlns="" id="{A5095E48-CEA3-4B80-BD60-8609AB492563}"/>
              </a:ext>
            </a:extLst>
          </p:cNvPr>
          <p:cNvSpPr/>
          <p:nvPr/>
        </p:nvSpPr>
        <p:spPr>
          <a:xfrm>
            <a:off x="6589015" y="4146661"/>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1" name="Pfeil: nach oben gekrümmt 50">
            <a:extLst>
              <a:ext uri="{FF2B5EF4-FFF2-40B4-BE49-F238E27FC236}">
                <a16:creationId xmlns:a16="http://schemas.microsoft.com/office/drawing/2014/main" xmlns="" id="{1DBEE022-4F1D-4C2C-B9CA-62457FD557DB}"/>
              </a:ext>
            </a:extLst>
          </p:cNvPr>
          <p:cNvSpPr/>
          <p:nvPr/>
        </p:nvSpPr>
        <p:spPr>
          <a:xfrm rot="10800000">
            <a:off x="6512012" y="3457480"/>
            <a:ext cx="709670" cy="576288"/>
          </a:xfrm>
          <a:prstGeom prst="curvedUpArrow">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53" name="Subtitle 2">
            <a:extLst>
              <a:ext uri="{FF2B5EF4-FFF2-40B4-BE49-F238E27FC236}">
                <a16:creationId xmlns:a16="http://schemas.microsoft.com/office/drawing/2014/main" xmlns="" id="{06B59969-4B5E-4109-AC4B-41123B3AC28B}"/>
              </a:ext>
            </a:extLst>
          </p:cNvPr>
          <p:cNvSpPr txBox="1">
            <a:spLocks/>
          </p:cNvSpPr>
          <p:nvPr/>
        </p:nvSpPr>
        <p:spPr>
          <a:xfrm>
            <a:off x="4459230"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Interne Finanzierung:</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Aus eigener Kraft</a:t>
            </a:r>
            <a:endParaRPr lang="en-GB" sz="1600" b="1" dirty="0">
              <a:latin typeface="+mj-lt"/>
              <a:ea typeface="Lato Light" panose="020F0502020204030203" pitchFamily="34" charset="0"/>
              <a:cs typeface="Mukta ExtraLight" panose="020B0000000000000000" pitchFamily="34" charset="77"/>
            </a:endParaRPr>
          </a:p>
        </p:txBody>
      </p:sp>
      <p:sp>
        <p:nvSpPr>
          <p:cNvPr id="55" name="Subtitle 2">
            <a:extLst>
              <a:ext uri="{FF2B5EF4-FFF2-40B4-BE49-F238E27FC236}">
                <a16:creationId xmlns:a16="http://schemas.microsoft.com/office/drawing/2014/main" xmlns="" id="{262AC9C3-092E-4E0B-9F24-2E45454CF072}"/>
              </a:ext>
            </a:extLst>
          </p:cNvPr>
          <p:cNvSpPr txBox="1">
            <a:spLocks/>
          </p:cNvSpPr>
          <p:nvPr/>
        </p:nvSpPr>
        <p:spPr>
          <a:xfrm>
            <a:off x="7555964" y="4949698"/>
            <a:ext cx="28394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a:latin typeface="+mj-lt"/>
                <a:ea typeface="Lato Light" panose="020F0502020204030203" pitchFamily="34" charset="0"/>
                <a:cs typeface="Mukta ExtraLight" panose="020B0000000000000000" pitchFamily="34" charset="77"/>
              </a:rPr>
              <a:t>Externe Finanzierung: </a:t>
            </a:r>
            <a:br>
              <a:rPr lang="en-GB" sz="1600" b="1">
                <a:latin typeface="+mj-lt"/>
                <a:ea typeface="Lato Light" panose="020F0502020204030203" pitchFamily="34" charset="0"/>
                <a:cs typeface="Mukta ExtraLight" panose="020B0000000000000000" pitchFamily="34" charset="77"/>
              </a:rPr>
            </a:br>
            <a:r>
              <a:rPr lang="en-GB" sz="1600">
                <a:latin typeface="+mj-lt"/>
                <a:ea typeface="Lato Light" panose="020F0502020204030203" pitchFamily="34" charset="0"/>
                <a:cs typeface="Mukta ExtraLight" panose="020B0000000000000000" pitchFamily="34" charset="77"/>
              </a:rPr>
              <a:t>Kapitalzufuhr</a:t>
            </a:r>
            <a:endParaRPr lang="en-GB" sz="1600" b="1" dirty="0">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5748726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1553" y="563218"/>
            <a:ext cx="8852375" cy="697353"/>
          </a:xfrm>
        </p:spPr>
        <p:txBody>
          <a:bodyPr>
            <a:normAutofit fontScale="92500"/>
          </a:bodyPr>
          <a:lstStyle/>
          <a:p>
            <a:r>
              <a:rPr lang="en-GB" dirty="0"/>
              <a:t>Der Zeitplan für die finanzielle Restrukturieru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49330" y="1838815"/>
            <a:ext cx="2788785"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er Werkzeugkasten für die finanzielle Restrukturierung ist groß - schrumpft aber mit dem Fortschreiten der Krise.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verfügbaren Instrumente variieren jedoch in ihrer Komplexität und erfordern teilweise einen erheblichen Zeitaufwand im Vorfeld</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cxnSp>
        <p:nvCxnSpPr>
          <p:cNvPr id="6" name="Gerade Verbindung mit Pfeil 5">
            <a:extLst>
              <a:ext uri="{FF2B5EF4-FFF2-40B4-BE49-F238E27FC236}">
                <a16:creationId xmlns:a16="http://schemas.microsoft.com/office/drawing/2014/main" xmlns="" id="{D56C76F7-68CE-4B26-A52D-8770502F9A19}"/>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FB32D818-ED6D-459F-ADB6-4F31917E9F5F}"/>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27" name="Subtitle 2">
            <a:extLst>
              <a:ext uri="{FF2B5EF4-FFF2-40B4-BE49-F238E27FC236}">
                <a16:creationId xmlns:a16="http://schemas.microsoft.com/office/drawing/2014/main" xmlns="" id="{ABAF5D81-7D3C-4751-A67A-349C3934525C}"/>
              </a:ext>
            </a:extLst>
          </p:cNvPr>
          <p:cNvSpPr txBox="1">
            <a:spLocks/>
          </p:cNvSpPr>
          <p:nvPr/>
        </p:nvSpPr>
        <p:spPr>
          <a:xfrm>
            <a:off x="7808822" y="5706059"/>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Benötigte Zeit</a:t>
            </a:r>
            <a:endParaRPr lang="en-GB" sz="1600" b="1" dirty="0">
              <a:latin typeface="+mj-lt"/>
              <a:ea typeface="Lato Light" panose="020F0502020204030203" pitchFamily="34" charset="0"/>
              <a:cs typeface="Mukta ExtraLight" panose="020B0000000000000000" pitchFamily="34" charset="77"/>
            </a:endParaRPr>
          </a:p>
        </p:txBody>
      </p:sp>
      <p:sp>
        <p:nvSpPr>
          <p:cNvPr id="30" name="Subtitle 2">
            <a:extLst>
              <a:ext uri="{FF2B5EF4-FFF2-40B4-BE49-F238E27FC236}">
                <a16:creationId xmlns:a16="http://schemas.microsoft.com/office/drawing/2014/main" xmlns="" id="{526D63FF-A52F-4E47-B906-BCD5DFECE8C7}"/>
              </a:ext>
            </a:extLst>
          </p:cNvPr>
          <p:cNvSpPr txBox="1">
            <a:spLocks/>
          </p:cNvSpPr>
          <p:nvPr/>
        </p:nvSpPr>
        <p:spPr>
          <a:xfrm rot="16200000">
            <a:off x="2212949" y="3637503"/>
            <a:ext cx="2839455"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1600" b="1">
                <a:latin typeface="+mj-lt"/>
                <a:ea typeface="Lato Light" panose="020F0502020204030203" pitchFamily="34" charset="0"/>
                <a:cs typeface="Mukta ExtraLight" panose="020B0000000000000000" pitchFamily="34" charset="77"/>
              </a:rPr>
              <a:t>Komplexität</a:t>
            </a:r>
            <a:endParaRPr lang="en-GB" sz="1600" b="1" dirty="0">
              <a:latin typeface="+mj-lt"/>
              <a:ea typeface="Lato Light" panose="020F0502020204030203" pitchFamily="34" charset="0"/>
              <a:cs typeface="Mukta ExtraLight" panose="020B0000000000000000" pitchFamily="34" charset="77"/>
            </a:endParaRPr>
          </a:p>
        </p:txBody>
      </p:sp>
      <p:sp>
        <p:nvSpPr>
          <p:cNvPr id="31" name="Rechteck 30">
            <a:extLst>
              <a:ext uri="{FF2B5EF4-FFF2-40B4-BE49-F238E27FC236}">
                <a16:creationId xmlns:a16="http://schemas.microsoft.com/office/drawing/2014/main" xmlns="" id="{787A516F-3FB2-47F1-84A0-CDACB19D7E2C}"/>
              </a:ext>
            </a:extLst>
          </p:cNvPr>
          <p:cNvSpPr/>
          <p:nvPr/>
        </p:nvSpPr>
        <p:spPr>
          <a:xfrm>
            <a:off x="3989282" y="5031039"/>
            <a:ext cx="2357083" cy="553325"/>
          </a:xfrm>
          <a:prstGeom prst="rect">
            <a:avLst/>
          </a:prstGeom>
          <a:solidFill>
            <a:srgbClr val="E53292"/>
          </a:solidFill>
          <a:ln>
            <a:solidFill>
              <a:srgbClr val="E532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Aufrechterhaltung der finanziellen Solvenz</a:t>
            </a:r>
          </a:p>
        </p:txBody>
      </p:sp>
      <p:sp>
        <p:nvSpPr>
          <p:cNvPr id="32" name="Rechteck 31">
            <a:extLst>
              <a:ext uri="{FF2B5EF4-FFF2-40B4-BE49-F238E27FC236}">
                <a16:creationId xmlns:a16="http://schemas.microsoft.com/office/drawing/2014/main" xmlns="" id="{2F6B44A6-77D0-4EB5-BAFA-BC46403239DE}"/>
              </a:ext>
            </a:extLst>
          </p:cNvPr>
          <p:cNvSpPr/>
          <p:nvPr/>
        </p:nvSpPr>
        <p:spPr>
          <a:xfrm>
            <a:off x="4783585" y="4465160"/>
            <a:ext cx="2788790" cy="456742"/>
          </a:xfrm>
          <a:prstGeom prst="rect">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Stabilisierung der Liquidität</a:t>
            </a:r>
          </a:p>
        </p:txBody>
      </p:sp>
      <p:sp>
        <p:nvSpPr>
          <p:cNvPr id="33" name="Rechteck 32">
            <a:extLst>
              <a:ext uri="{FF2B5EF4-FFF2-40B4-BE49-F238E27FC236}">
                <a16:creationId xmlns:a16="http://schemas.microsoft.com/office/drawing/2014/main" xmlns="" id="{75FDE408-36C2-4CE8-B11C-EB4902BAF4FC}"/>
              </a:ext>
            </a:extLst>
          </p:cNvPr>
          <p:cNvSpPr/>
          <p:nvPr/>
        </p:nvSpPr>
        <p:spPr>
          <a:xfrm>
            <a:off x="7624120" y="3011230"/>
            <a:ext cx="2246116" cy="675017"/>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latin typeface="+mj-lt"/>
              </a:rPr>
              <a:t>Verbesserung der Finanzierungsstruktur</a:t>
            </a:r>
          </a:p>
        </p:txBody>
      </p:sp>
      <p:sp>
        <p:nvSpPr>
          <p:cNvPr id="34" name="Rechteck 33">
            <a:extLst>
              <a:ext uri="{FF2B5EF4-FFF2-40B4-BE49-F238E27FC236}">
                <a16:creationId xmlns:a16="http://schemas.microsoft.com/office/drawing/2014/main" xmlns="" id="{85A6F7ED-C858-45F7-8C46-0E53E78CC4A7}"/>
              </a:ext>
            </a:extLst>
          </p:cNvPr>
          <p:cNvSpPr/>
          <p:nvPr/>
        </p:nvSpPr>
        <p:spPr>
          <a:xfrm>
            <a:off x="8526004" y="2098307"/>
            <a:ext cx="2122273" cy="80378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Aufbau einer nachhaltigen Kapitalstruktur</a:t>
            </a:r>
          </a:p>
        </p:txBody>
      </p:sp>
    </p:spTree>
    <p:extLst>
      <p:ext uri="{BB962C8B-B14F-4D97-AF65-F5344CB8AC3E}">
        <p14:creationId xmlns:p14="http://schemas.microsoft.com/office/powerpoint/2010/main" val="847728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xmlns="" id="{8097CF65-D079-48D2-AC2C-D140C96B54A2}"/>
              </a:ext>
            </a:extLst>
          </p:cNvPr>
          <p:cNvSpPr txBox="1">
            <a:spLocks/>
          </p:cNvSpPr>
          <p:nvPr/>
        </p:nvSpPr>
        <p:spPr>
          <a:xfrm>
            <a:off x="427461" y="853210"/>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t>Es </a:t>
            </a:r>
            <a:r>
              <a:rPr lang="en-GB" cap="all" dirty="0" err="1"/>
              <a:t>folgt</a:t>
            </a:r>
            <a:endParaRPr lang="en-GB" cap="all" dirty="0"/>
          </a:p>
        </p:txBody>
      </p:sp>
      <p:sp>
        <p:nvSpPr>
          <p:cNvPr id="7" name="Text Placeholder 1">
            <a:extLst>
              <a:ext uri="{FF2B5EF4-FFF2-40B4-BE49-F238E27FC236}">
                <a16:creationId xmlns:a16="http://schemas.microsoft.com/office/drawing/2014/main" xmlns="" id="{00F662FF-312D-40AA-858A-6C85AE0C998C}"/>
              </a:ext>
            </a:extLst>
          </p:cNvPr>
          <p:cNvSpPr txBox="1">
            <a:spLocks/>
          </p:cNvSpPr>
          <p:nvPr/>
        </p:nvSpPr>
        <p:spPr>
          <a:xfrm>
            <a:off x="4025036" y="858008"/>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solidFill>
                  <a:srgbClr val="B71E70"/>
                </a:solidFill>
              </a:rPr>
              <a:t>Modul</a:t>
            </a:r>
            <a:r>
              <a:rPr lang="en-GB" dirty="0">
                <a:solidFill>
                  <a:srgbClr val="B71E70"/>
                </a:solidFill>
              </a:rPr>
              <a:t> 6 </a:t>
            </a:r>
          </a:p>
        </p:txBody>
      </p:sp>
      <p:sp>
        <p:nvSpPr>
          <p:cNvPr id="8" name="Text Placeholder 2">
            <a:extLst>
              <a:ext uri="{FF2B5EF4-FFF2-40B4-BE49-F238E27FC236}">
                <a16:creationId xmlns:a16="http://schemas.microsoft.com/office/drawing/2014/main" xmlns="" id="{AC98295E-591C-4E0A-AC08-01C8F0D71FD5}"/>
              </a:ext>
            </a:extLst>
          </p:cNvPr>
          <p:cNvSpPr txBox="1">
            <a:spLocks/>
          </p:cNvSpPr>
          <p:nvPr/>
        </p:nvSpPr>
        <p:spPr>
          <a:xfrm>
            <a:off x="430547" y="2844724"/>
            <a:ext cx="5665454" cy="878864"/>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i="1" kern="1200" baseline="0">
                <a:solidFill>
                  <a:srgbClr val="245473"/>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i="0" dirty="0" err="1"/>
              <a:t>Führung</a:t>
            </a:r>
            <a:r>
              <a:rPr lang="en-GB" sz="3600" i="0" dirty="0"/>
              <a:t> in der </a:t>
            </a:r>
            <a:r>
              <a:rPr lang="en-GB" sz="3600" i="0" dirty="0" err="1"/>
              <a:t>Krise</a:t>
            </a:r>
            <a:r>
              <a:rPr lang="en-GB" sz="3600" i="0" dirty="0"/>
              <a:t> </a:t>
            </a:r>
            <a:endParaRPr lang="en-GB" sz="3600" dirty="0"/>
          </a:p>
        </p:txBody>
      </p:sp>
    </p:spTree>
    <p:extLst>
      <p:ext uri="{BB962C8B-B14F-4D97-AF65-F5344CB8AC3E}">
        <p14:creationId xmlns:p14="http://schemas.microsoft.com/office/powerpoint/2010/main" val="2132114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4262" y="431664"/>
            <a:ext cx="7036493" cy="697353"/>
          </a:xfrm>
        </p:spPr>
        <p:txBody>
          <a:bodyPr>
            <a:noAutofit/>
          </a:bodyPr>
          <a:lstStyle/>
          <a:p>
            <a:r>
              <a:rPr lang="en-GB" dirty="0"/>
              <a:t>Strategische Optionen in der Krise: Frühe Phas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9348" y="2141017"/>
            <a:ext cx="2858626" cy="373722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Aus unternehmerischer Sicht nehmen die </a:t>
            </a:r>
            <a:r>
              <a:rPr lang="en-GB" sz="2200" dirty="0" err="1">
                <a:solidFill>
                  <a:srgbClr val="245473"/>
                </a:solidFill>
                <a:latin typeface="+mj-lt"/>
                <a:ea typeface="Open Sans Light" panose="020B0306030504020204" pitchFamily="34" charset="0"/>
                <a:cs typeface="Open Sans Light" panose="020B0306030504020204" pitchFamily="34" charset="0"/>
              </a:rPr>
              <a:t>strategisch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Handlungsalternativen</a:t>
            </a:r>
            <a:r>
              <a:rPr lang="en-GB" sz="2200" dirty="0">
                <a:solidFill>
                  <a:srgbClr val="245473"/>
                </a:solidFill>
                <a:latin typeface="+mj-lt"/>
                <a:ea typeface="Open Sans Light" panose="020B0306030504020204" pitchFamily="34" charset="0"/>
                <a:cs typeface="Open Sans Light" panose="020B0306030504020204" pitchFamily="34" charset="0"/>
              </a:rPr>
              <a:t> mit dem Fortschreiten der Krise ab.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Je früher Sie die Krise erkennen, desto größer ist die strategische Freiheit.</a:t>
            </a:r>
            <a:endParaRPr lang="en-US" dirty="0">
              <a:solidFill>
                <a:srgbClr val="245473"/>
              </a:solidFill>
            </a:endParaRPr>
          </a:p>
          <a:p>
            <a:pPr algn="l">
              <a:lnSpc>
                <a:spcPts val="1500"/>
              </a:lnSpc>
              <a:spcBef>
                <a:spcPts val="600"/>
              </a:spcBef>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266169" y="1951884"/>
            <a:ext cx="6550745" cy="1034836"/>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arktanteil schrumpft</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klamationen </a:t>
            </a:r>
            <a:r>
              <a:rPr lang="en-GB" sz="1800" dirty="0" err="1">
                <a:solidFill>
                  <a:srgbClr val="245473"/>
                </a:solidFill>
                <a:latin typeface="+mj-lt"/>
                <a:ea typeface="Lato Light" panose="020F0502020204030203" pitchFamily="34" charset="0"/>
                <a:cs typeface="Mukta ExtraLight" panose="020B0000000000000000" pitchFamily="34" charset="77"/>
              </a:rPr>
              <a:t>nehm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zu</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Debitoren</a:t>
            </a:r>
            <a:r>
              <a:rPr lang="en-GB" sz="1800" dirty="0">
                <a:solidFill>
                  <a:srgbClr val="245473"/>
                </a:solidFill>
                <a:latin typeface="+mj-lt"/>
                <a:ea typeface="Lato Light" panose="020F0502020204030203" pitchFamily="34" charset="0"/>
                <a:cs typeface="Mukta ExtraLight" panose="020B0000000000000000" pitchFamily="34" charset="77"/>
              </a:rPr>
              <a:t>- und </a:t>
            </a:r>
            <a:r>
              <a:rPr lang="en-GB" sz="1800" dirty="0" err="1">
                <a:solidFill>
                  <a:srgbClr val="245473"/>
                </a:solidFill>
                <a:latin typeface="+mj-lt"/>
                <a:ea typeface="Lato Light" panose="020F0502020204030203" pitchFamily="34" charset="0"/>
                <a:cs typeface="Mukta ExtraLight" panose="020B0000000000000000" pitchFamily="34" charset="77"/>
              </a:rPr>
              <a:t>Kreditoren-buchhaltung</a:t>
            </a:r>
            <a:r>
              <a:rPr lang="en-GB" sz="1800" dirty="0">
                <a:solidFill>
                  <a:srgbClr val="245473"/>
                </a:solidFill>
                <a:latin typeface="+mj-lt"/>
                <a:ea typeface="Lato Light" panose="020F0502020204030203" pitchFamily="34" charset="0"/>
                <a:cs typeface="Mukta ExtraLight" panose="020B0000000000000000" pitchFamily="34" charset="77"/>
              </a:rPr>
              <a:t> verlangsamt sich</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inanzkennzahlen verschlechtern sich</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6" name="Trapezoid 5">
            <a:extLst>
              <a:ext uri="{FF2B5EF4-FFF2-40B4-BE49-F238E27FC236}">
                <a16:creationId xmlns:a16="http://schemas.microsoft.com/office/drawing/2014/main" xmlns="" id="{A20C0991-9A79-428E-ADBF-270B86B87DE6}"/>
              </a:ext>
            </a:extLst>
          </p:cNvPr>
          <p:cNvSpPr/>
          <p:nvPr/>
        </p:nvSpPr>
        <p:spPr>
          <a:xfrm rot="5400000">
            <a:off x="3447146" y="3091700"/>
            <a:ext cx="2272626" cy="1889760"/>
          </a:xfrm>
          <a:prstGeom prst="trapezoid">
            <a:avLst>
              <a:gd name="adj" fmla="val 148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3638579" y="3429749"/>
            <a:ext cx="1883088" cy="13741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rPr>
              <a:t>Frühe Krisenphasen</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b="1" dirty="0">
                <a:solidFill>
                  <a:schemeClr val="bg1"/>
                </a:solidFill>
                <a:latin typeface="+mj-lt"/>
                <a:ea typeface="Lato Light" panose="020F0502020204030203" pitchFamily="34" charset="0"/>
                <a:cs typeface="Mukta ExtraLight" panose="020B0000000000000000" pitchFamily="34" charset="77"/>
              </a:rPr>
              <a:t/>
            </a:r>
            <a:br>
              <a:rPr lang="en-GB" sz="1800" b="1" dirty="0">
                <a:solidFill>
                  <a:schemeClr val="bg1"/>
                </a:solidFill>
                <a:latin typeface="+mj-lt"/>
                <a:ea typeface="Lato Light" panose="020F0502020204030203" pitchFamily="34" charset="0"/>
                <a:cs typeface="Mukta ExtraLight" panose="020B0000000000000000" pitchFamily="34" charset="77"/>
              </a:rPr>
            </a:br>
            <a:r>
              <a:rPr lang="en-GB" sz="1800" dirty="0">
                <a:solidFill>
                  <a:schemeClr val="bg1"/>
                </a:solidFill>
                <a:latin typeface="+mj-lt"/>
                <a:ea typeface="Lato Light" panose="020F0502020204030203" pitchFamily="34" charset="0"/>
                <a:cs typeface="Mukta ExtraLight" panose="020B0000000000000000" pitchFamily="34" charset="77"/>
              </a:rPr>
              <a:t>Underperforming</a:t>
            </a:r>
          </a:p>
          <a:p>
            <a:pPr>
              <a:lnSpc>
                <a:spcPts val="1313"/>
              </a:lnSpc>
            </a:pPr>
            <a:endPar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endParaRPr>
          </a:p>
          <a:p>
            <a:pPr>
              <a:lnSpc>
                <a:spcPts val="1313"/>
              </a:lnSpc>
            </a:pP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Viele strategische</a:t>
            </a:r>
            <a:b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800" b="1" dirty="0">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tionen</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Symptome:</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319442" y="4876999"/>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r Situation </a:t>
            </a:r>
            <a:r>
              <a:rPr lang="en-GB" sz="1800" dirty="0" err="1">
                <a:solidFill>
                  <a:srgbClr val="245473"/>
                </a:solidFill>
                <a:latin typeface="+mj-lt"/>
                <a:ea typeface="Lato Light" panose="020F0502020204030203" pitchFamily="34" charset="0"/>
                <a:cs typeface="Mukta ExtraLight" panose="020B0000000000000000" pitchFamily="34" charset="77"/>
              </a:rPr>
              <a:t>entgegentreten</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n Kunden zuhöre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Überarbeitung der strategischen und operativen Pläne</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Zykluszeiten verkürzen</a:t>
            </a:r>
          </a:p>
          <a:p>
            <a:pPr marL="285750" indent="-2857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fessionalisierung des Berichtswesens und der Buchhaltung</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ariable Kosten + fixe Gemeinkosten senken</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64D92"/>
                </a:solidFill>
                <a:latin typeface="+mj-lt"/>
                <a:ea typeface="Lato Light" panose="020F0502020204030203" pitchFamily="34" charset="0"/>
                <a:cs typeface="Mukta ExtraLight" panose="020B0000000000000000" pitchFamily="34" charset="77"/>
              </a:rPr>
              <a:t>Aktionen:</a:t>
            </a:r>
          </a:p>
        </p:txBody>
      </p:sp>
      <p:sp>
        <p:nvSpPr>
          <p:cNvPr id="12" name="Subtitle 2">
            <a:extLst>
              <a:ext uri="{FF2B5EF4-FFF2-40B4-BE49-F238E27FC236}">
                <a16:creationId xmlns:a16="http://schemas.microsoft.com/office/drawing/2014/main" xmlns="" id="{49C17D88-888D-43D7-83F4-B951773BB902}"/>
              </a:ext>
            </a:extLst>
          </p:cNvPr>
          <p:cNvSpPr txBox="1">
            <a:spLocks/>
          </p:cNvSpPr>
          <p:nvPr/>
        </p:nvSpPr>
        <p:spPr>
          <a:xfrm rot="16200000">
            <a:off x="2436733" y="3817091"/>
            <a:ext cx="1883088" cy="43897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GB" sz="2000" b="1" dirty="0">
                <a:solidFill>
                  <a:srgbClr val="F95C2C"/>
                </a:solidFill>
                <a:latin typeface="+mj-lt"/>
                <a:ea typeface="Lato Light" panose="020F0502020204030203" pitchFamily="34" charset="0"/>
                <a:cs typeface="Mukta ExtraLight" panose="020B0000000000000000" pitchFamily="34" charset="77"/>
              </a:rPr>
              <a:t>Strategische Optionen</a:t>
            </a:r>
          </a:p>
        </p:txBody>
      </p:sp>
    </p:spTree>
    <p:extLst>
      <p:ext uri="{BB962C8B-B14F-4D97-AF65-F5344CB8AC3E}">
        <p14:creationId xmlns:p14="http://schemas.microsoft.com/office/powerpoint/2010/main" val="1179086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3607" y="1775959"/>
            <a:ext cx="2775346" cy="531457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Spiegelt sich die Krise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in den </a:t>
            </a:r>
            <a:r>
              <a:rPr lang="en-GB" sz="2000" dirty="0" err="1">
                <a:solidFill>
                  <a:srgbClr val="245473"/>
                </a:solidFill>
                <a:latin typeface="+mj-lt"/>
                <a:ea typeface="Open Sans Light" panose="020B0306030504020204" pitchFamily="34" charset="0"/>
                <a:cs typeface="Open Sans Light" panose="020B0306030504020204" pitchFamily="34" charset="0"/>
              </a:rPr>
              <a:t>relevant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Kennzahlen</a:t>
            </a:r>
            <a:r>
              <a:rPr lang="en-GB" sz="2000" dirty="0">
                <a:solidFill>
                  <a:srgbClr val="245473"/>
                </a:solidFill>
                <a:latin typeface="+mj-lt"/>
                <a:ea typeface="Open Sans Light" panose="020B0306030504020204" pitchFamily="34" charset="0"/>
                <a:cs typeface="Open Sans Light" panose="020B0306030504020204" pitchFamily="34" charset="0"/>
              </a:rPr>
              <a:t> wider, sind die strategischen Optionen bereits massiv eingeschränkt.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Die Faustformel lautet: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Je weiter die Krise fortschreitet, bevor Maßnahmen ergriffen werden,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err="1">
                <a:solidFill>
                  <a:srgbClr val="245473"/>
                </a:solidFill>
                <a:latin typeface="+mj-lt"/>
                <a:ea typeface="Open Sans Light" panose="020B0306030504020204" pitchFamily="34" charset="0"/>
                <a:cs typeface="Open Sans Light" panose="020B0306030504020204" pitchFamily="34" charset="0"/>
              </a:rPr>
              <a:t>desto</a:t>
            </a:r>
            <a:r>
              <a:rPr lang="en-GB" sz="2000" dirty="0">
                <a:solidFill>
                  <a:srgbClr val="245473"/>
                </a:solidFill>
                <a:latin typeface="+mj-lt"/>
                <a:ea typeface="Open Sans Light" panose="020B0306030504020204" pitchFamily="34" charset="0"/>
                <a:cs typeface="Open Sans Light" panose="020B0306030504020204" pitchFamily="34" charset="0"/>
              </a:rPr>
              <a:t> unwahrscheinlicher ist es, dass die eigenen Ressourcen ausreichen, um die Krise aus eigener Kraft zu meistern. </a:t>
            </a:r>
            <a:br>
              <a:rPr lang="en-GB" sz="2000" dirty="0">
                <a:solidFill>
                  <a:srgbClr val="245473"/>
                </a:solidFill>
                <a:latin typeface="+mj-lt"/>
                <a:ea typeface="Open Sans Light" panose="020B0306030504020204" pitchFamily="34" charset="0"/>
                <a:cs typeface="Open Sans Light" panose="020B0306030504020204" pitchFamily="34" charset="0"/>
              </a:rPr>
            </a:br>
            <a:endParaRPr lang="en-US" sz="2000" dirty="0">
              <a:solidFill>
                <a:srgbClr val="245473"/>
              </a:solidFill>
              <a:ea typeface="Open Sans Light" panose="020B0306030504020204" pitchFamily="34" charset="0"/>
              <a:cs typeface="Open Sans Light" panose="020B0306030504020204" pitchFamily="34" charset="0"/>
            </a:endParaRP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003756" y="1861557"/>
            <a:ext cx="7111614"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eutliche Rückgänge bei Umsatz und Ergebni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Verstöße gegen die Bankenklausel</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Qualitätsprobleme und Retouren</a:t>
            </a:r>
          </a:p>
          <a:p>
            <a:pPr marL="182563" indent="-182563" algn="l">
              <a:lnSpc>
                <a:spcPct val="100000"/>
              </a:lnSpc>
              <a:buFont typeface="Arial" panose="020B0604020202020204" pitchFamily="34" charset="0"/>
              <a:buChar char="•"/>
            </a:pP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Kreditlinie ausgeschöpft</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Liquide Mittel abnehmend</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kute Produktionsprobleme (schwierige Materialversorgung / Lieferanten fordern Vorauszahlungen)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45252" y="2060197"/>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Symptome:</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222088"/>
            <a:ext cx="6770233" cy="100661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ssert-Steuerung</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Umstrukturierungsplan entwickel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hange Management</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chulden umstrukturiere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nlagevermögen verkaufen</a:t>
            </a:r>
          </a:p>
          <a:p>
            <a:pPr marL="182245" indent="-182245"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Unternehmen verkaufen / Investoren / strategische Partner suchen</a:t>
            </a:r>
          </a:p>
          <a:p>
            <a:pPr marL="182245" indent="-182245"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51923"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ktionen:</a:t>
            </a:r>
          </a:p>
        </p:txBody>
      </p:sp>
      <p:sp>
        <p:nvSpPr>
          <p:cNvPr id="12" name="Trapezoid 11">
            <a:extLst>
              <a:ext uri="{FF2B5EF4-FFF2-40B4-BE49-F238E27FC236}">
                <a16:creationId xmlns:a16="http://schemas.microsoft.com/office/drawing/2014/main" xmlns="" id="{9160F301-36F6-478C-ABB0-548F09720128}"/>
              </a:ext>
            </a:extLst>
          </p:cNvPr>
          <p:cNvSpPr/>
          <p:nvPr/>
        </p:nvSpPr>
        <p:spPr>
          <a:xfrm rot="5400000">
            <a:off x="5625993" y="3085356"/>
            <a:ext cx="1707797" cy="1889760"/>
          </a:xfrm>
          <a:prstGeom prst="trapezoid">
            <a:avLst>
              <a:gd name="adj" fmla="val 14862"/>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5528339" y="3470028"/>
            <a:ext cx="1883088" cy="131254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Beschleunigung von Krisenphasen</a:t>
            </a:r>
            <a:br>
              <a:rPr lang="en-GB" sz="1600" b="1">
                <a:solidFill>
                  <a:schemeClr val="bg1"/>
                </a:solidFill>
                <a:latin typeface="+mj-lt"/>
                <a:ea typeface="Lato Light" panose="020F0502020204030203" pitchFamily="34" charset="0"/>
                <a:cs typeface="Mukta ExtraLight" panose="020B0000000000000000" pitchFamily="34" charset="77"/>
              </a:rPr>
            </a:br>
            <a:r>
              <a:rPr lang="en-GB" sz="1600" b="1">
                <a:solidFill>
                  <a:schemeClr val="bg1"/>
                </a:solidFill>
                <a:latin typeface="+mj-lt"/>
                <a:ea typeface="Lato Light" panose="020F0502020204030203" pitchFamily="34" charset="0"/>
                <a:cs typeface="Mukta ExtraLight" panose="020B0000000000000000" pitchFamily="34" charset="77"/>
              </a:rPr>
              <a:t/>
            </a:r>
            <a:br>
              <a:rPr lang="en-GB" sz="1600" b="1">
                <a:solidFill>
                  <a:schemeClr val="bg1"/>
                </a:solidFill>
                <a:latin typeface="+mj-lt"/>
                <a:ea typeface="Lato Light" panose="020F0502020204030203" pitchFamily="34" charset="0"/>
                <a:cs typeface="Mukta ExtraLight" panose="020B0000000000000000" pitchFamily="34" charset="77"/>
              </a:rPr>
            </a:br>
            <a:endParaRPr lang="en-GB" sz="1600" b="1">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Weniger strategische</a:t>
            </a:r>
            <a:b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br>
            <a:r>
              <a:rPr lang="en-GB" sz="1600" b="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Optionen</a:t>
            </a: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3" name="Subtitle 2">
            <a:extLst>
              <a:ext uri="{FF2B5EF4-FFF2-40B4-BE49-F238E27FC236}">
                <a16:creationId xmlns:a16="http://schemas.microsoft.com/office/drawing/2014/main" xmlns="" id="{4A73B857-2366-4BF2-BA46-E3276B745461}"/>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sche Optionen</a:t>
            </a:r>
            <a:endParaRPr lang="en-GB" sz="1600" b="1" dirty="0">
              <a:latin typeface="+mj-lt"/>
              <a:ea typeface="Lato Light" panose="020F0502020204030203" pitchFamily="34" charset="0"/>
              <a:cs typeface="Mukta ExtraLight" panose="020B0000000000000000" pitchFamily="34" charset="77"/>
            </a:endParaRPr>
          </a:p>
        </p:txBody>
      </p:sp>
      <p:sp>
        <p:nvSpPr>
          <p:cNvPr id="14" name="Textplatzhalter 1">
            <a:extLst>
              <a:ext uri="{FF2B5EF4-FFF2-40B4-BE49-F238E27FC236}">
                <a16:creationId xmlns:a16="http://schemas.microsoft.com/office/drawing/2014/main" xmlns="" id="{78F6F4DA-07AE-477C-95C5-9FF0400E700B}"/>
              </a:ext>
            </a:extLst>
          </p:cNvPr>
          <p:cNvSpPr txBox="1">
            <a:spLocks/>
          </p:cNvSpPr>
          <p:nvPr/>
        </p:nvSpPr>
        <p:spPr>
          <a:xfrm>
            <a:off x="1374262" y="431664"/>
            <a:ext cx="7036493"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Strategische</a:t>
            </a:r>
            <a:r>
              <a:rPr lang="en-GB" dirty="0"/>
              <a:t> </a:t>
            </a:r>
            <a:r>
              <a:rPr lang="en-GB" dirty="0" err="1"/>
              <a:t>Optionen</a:t>
            </a:r>
            <a:r>
              <a:rPr lang="en-GB" dirty="0"/>
              <a:t> in der </a:t>
            </a:r>
            <a:r>
              <a:rPr lang="en-GB" dirty="0" err="1"/>
              <a:t>Krise</a:t>
            </a:r>
            <a:r>
              <a:rPr lang="en-GB" dirty="0"/>
              <a:t>: </a:t>
            </a:r>
            <a:r>
              <a:rPr lang="en-GB" dirty="0" err="1"/>
              <a:t>Beschleunigung</a:t>
            </a:r>
            <a:r>
              <a:rPr lang="en-GB" dirty="0"/>
              <a:t> der </a:t>
            </a:r>
            <a:r>
              <a:rPr lang="en-GB" dirty="0" err="1"/>
              <a:t>Krise</a:t>
            </a:r>
            <a:endParaRPr lang="en-GB" dirty="0"/>
          </a:p>
        </p:txBody>
      </p:sp>
    </p:spTree>
    <p:extLst>
      <p:ext uri="{BB962C8B-B14F-4D97-AF65-F5344CB8AC3E}">
        <p14:creationId xmlns:p14="http://schemas.microsoft.com/office/powerpoint/2010/main" val="29318615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28601" y="1872343"/>
            <a:ext cx="2832652" cy="466824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Entgegen der landläufigen Meinung ist die Insolvenz nicht zwangsläufig das Ende des Unternehmens. Auch wenn die strategischen Optionen sehr begrenzt sind, erlaubt der gesetzliche Rahmen in den meisten Ländern auch eine Sanierung innerhalb der Insolvenz. </a:t>
            </a:r>
            <a:endParaRPr lang="en-US" sz="1800" dirty="0">
              <a:solidFill>
                <a:srgbClr val="245473"/>
              </a:solidFill>
            </a:endParaRP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ea typeface="Open Sans Light" panose="020B0306030504020204" pitchFamily="34" charset="0"/>
                <a:cs typeface="Open Sans Light" panose="020B0306030504020204" pitchFamily="34" charset="0"/>
              </a:rPr>
              <a:t>Eine </a:t>
            </a:r>
            <a:r>
              <a:rPr lang="en-GB" sz="1800" dirty="0" err="1">
                <a:solidFill>
                  <a:srgbClr val="245473"/>
                </a:solidFill>
                <a:latin typeface="+mj-lt"/>
                <a:ea typeface="Open Sans Light" panose="020B0306030504020204" pitchFamily="34" charset="0"/>
                <a:cs typeface="Open Sans Light" panose="020B0306030504020204" pitchFamily="34" charset="0"/>
              </a:rPr>
              <a:t>umfassende</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Betrachtung</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hier</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is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aufgrund</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europaweiter</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Unterschiede</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nicht</a:t>
            </a:r>
            <a:r>
              <a:rPr lang="en-GB" sz="1800" dirty="0">
                <a:solidFill>
                  <a:srgbClr val="245473"/>
                </a:solidFill>
                <a:latin typeface="+mj-lt"/>
                <a:ea typeface="Open Sans Light" panose="020B0306030504020204" pitchFamily="34" charset="0"/>
                <a:cs typeface="Open Sans Light" panose="020B0306030504020204" pitchFamily="34" charset="0"/>
              </a:rPr>
              <a:t> </a:t>
            </a:r>
            <a:r>
              <a:rPr lang="en-GB" sz="1800" dirty="0" err="1">
                <a:solidFill>
                  <a:srgbClr val="245473"/>
                </a:solidFill>
                <a:latin typeface="+mj-lt"/>
                <a:ea typeface="Open Sans Light" panose="020B0306030504020204" pitchFamily="34" charset="0"/>
                <a:cs typeface="Open Sans Light" panose="020B0306030504020204" pitchFamily="34" charset="0"/>
              </a:rPr>
              <a:t>möglich</a:t>
            </a:r>
            <a:r>
              <a:rPr lang="en-GB" sz="1800" dirty="0">
                <a:solidFill>
                  <a:srgbClr val="245473"/>
                </a:solidFill>
                <a:latin typeface="+mj-lt"/>
                <a:ea typeface="Open Sans Light" panose="020B0306030504020204" pitchFamily="34" charset="0"/>
                <a:cs typeface="Open Sans Light" panose="020B0306030504020204" pitchFamily="34" charset="0"/>
              </a:rPr>
              <a:t> </a:t>
            </a:r>
          </a:p>
          <a:p>
            <a:pPr marL="285750" indent="-285750" algn="l">
              <a:lnSpc>
                <a:spcPct val="100000"/>
              </a:lnSpc>
              <a:spcBef>
                <a:spcPts val="600"/>
              </a:spcBef>
              <a:buFont typeface="Wingdings" panose="05000000000000000000" pitchFamily="2" charset="2"/>
              <a:buChar char="à"/>
            </a:pPr>
            <a:r>
              <a:rPr lang="en-GB" sz="1800" b="1" dirty="0" err="1">
                <a:solidFill>
                  <a:srgbClr val="245473"/>
                </a:solidFill>
                <a:latin typeface="+mj-lt"/>
                <a:ea typeface="Open Sans Light" panose="020B0306030504020204" pitchFamily="34" charset="0"/>
                <a:cs typeface="Open Sans Light" panose="020B0306030504020204" pitchFamily="34" charset="0"/>
              </a:rPr>
              <a:t>Lassen</a:t>
            </a:r>
            <a:r>
              <a:rPr lang="en-GB" sz="1800" b="1" dirty="0">
                <a:solidFill>
                  <a:srgbClr val="245473"/>
                </a:solidFill>
                <a:latin typeface="+mj-lt"/>
                <a:ea typeface="Open Sans Light" panose="020B0306030504020204" pitchFamily="34" charset="0"/>
                <a:cs typeface="Open Sans Light" panose="020B0306030504020204" pitchFamily="34" charset="0"/>
              </a:rPr>
              <a:t> </a:t>
            </a:r>
            <a:r>
              <a:rPr lang="en-GB" sz="1800" b="1" dirty="0" err="1">
                <a:solidFill>
                  <a:srgbClr val="245473"/>
                </a:solidFill>
                <a:latin typeface="+mj-lt"/>
                <a:ea typeface="Open Sans Light" panose="020B0306030504020204" pitchFamily="34" charset="0"/>
                <a:cs typeface="Open Sans Light" panose="020B0306030504020204" pitchFamily="34" charset="0"/>
              </a:rPr>
              <a:t>sie</a:t>
            </a:r>
            <a:r>
              <a:rPr lang="en-GB" sz="1800" b="1" dirty="0">
                <a:solidFill>
                  <a:srgbClr val="245473"/>
                </a:solidFill>
                <a:latin typeface="+mj-lt"/>
                <a:ea typeface="Open Sans Light" panose="020B0306030504020204" pitchFamily="34" charset="0"/>
                <a:cs typeface="Open Sans Light" panose="020B0306030504020204" pitchFamily="34" charset="0"/>
              </a:rPr>
              <a:t> </a:t>
            </a:r>
            <a:r>
              <a:rPr lang="en-GB" sz="1800" b="1" dirty="0" err="1">
                <a:solidFill>
                  <a:srgbClr val="245473"/>
                </a:solidFill>
                <a:latin typeface="+mj-lt"/>
                <a:ea typeface="Open Sans Light" panose="020B0306030504020204" pitchFamily="34" charset="0"/>
                <a:cs typeface="Open Sans Light" panose="020B0306030504020204" pitchFamily="34" charset="0"/>
              </a:rPr>
              <a:t>sich</a:t>
            </a:r>
            <a:r>
              <a:rPr lang="en-GB" sz="1800" b="1" dirty="0">
                <a:solidFill>
                  <a:srgbClr val="245473"/>
                </a:solidFill>
                <a:latin typeface="+mj-lt"/>
                <a:ea typeface="Open Sans Light" panose="020B0306030504020204" pitchFamily="34" charset="0"/>
                <a:cs typeface="Open Sans Light" panose="020B0306030504020204" pitchFamily="34" charset="0"/>
              </a:rPr>
              <a:t> </a:t>
            </a:r>
            <a:r>
              <a:rPr lang="en-GB" sz="1800" b="1" dirty="0" err="1">
                <a:solidFill>
                  <a:srgbClr val="245473"/>
                </a:solidFill>
                <a:latin typeface="+mj-lt"/>
                <a:ea typeface="Open Sans Light" panose="020B0306030504020204" pitchFamily="34" charset="0"/>
                <a:cs typeface="Open Sans Light" panose="020B0306030504020204" pitchFamily="34" charset="0"/>
              </a:rPr>
              <a:t>beraten</a:t>
            </a:r>
            <a:r>
              <a:rPr lang="en-GB" sz="1800" b="1" dirty="0">
                <a:solidFill>
                  <a:srgbClr val="245473"/>
                </a:solidFill>
                <a:latin typeface="+mj-lt"/>
                <a:ea typeface="Open Sans Light" panose="020B0306030504020204" pitchFamily="34" charset="0"/>
                <a:cs typeface="Open Sans Light" panose="020B0306030504020204" pitchFamily="34" charset="0"/>
              </a:rPr>
              <a:t>!</a:t>
            </a:r>
          </a:p>
        </p:txBody>
      </p:sp>
      <p:sp>
        <p:nvSpPr>
          <p:cNvPr id="61" name="Subtitle 2">
            <a:extLst>
              <a:ext uri="{FF2B5EF4-FFF2-40B4-BE49-F238E27FC236}">
                <a16:creationId xmlns:a16="http://schemas.microsoft.com/office/drawing/2014/main" xmlns="" id="{BA6CD509-1097-470E-8B93-628628669957}"/>
              </a:ext>
            </a:extLst>
          </p:cNvPr>
          <p:cNvSpPr txBox="1">
            <a:spLocks/>
          </p:cNvSpPr>
          <p:nvPr/>
        </p:nvSpPr>
        <p:spPr>
          <a:xfrm>
            <a:off x="5193166" y="1868372"/>
            <a:ext cx="6770233" cy="840067"/>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Kein Bargeld übrig / Kredite in Verzug</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lle Finanzkennzahlen negativ</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bwanderung von Kunden zur Konkurrenz</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Keine Rohmaterialien verfügbar</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itarbeiter </a:t>
            </a:r>
            <a:r>
              <a:rPr lang="en-GB" sz="1800" dirty="0" err="1">
                <a:solidFill>
                  <a:srgbClr val="245473"/>
                </a:solidFill>
                <a:latin typeface="+mj-lt"/>
                <a:ea typeface="Lato Light" panose="020F0502020204030203" pitchFamily="34" charset="0"/>
                <a:cs typeface="Mukta ExtraLight" panose="020B0000000000000000" pitchFamily="34" charset="77"/>
              </a:rPr>
              <a:t>eilen</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aus</a:t>
            </a:r>
            <a:r>
              <a:rPr lang="en-GB" sz="1800" dirty="0">
                <a:solidFill>
                  <a:srgbClr val="245473"/>
                </a:solidFill>
                <a:latin typeface="+mj-lt"/>
                <a:ea typeface="Lato Light" panose="020F0502020204030203" pitchFamily="34" charset="0"/>
                <a:cs typeface="Mukta ExtraLight" panose="020B0000000000000000" pitchFamily="34" charset="77"/>
              </a:rPr>
              <a:t> der Tür</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nwälte übernehmen</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2" name="Subtitle 2">
            <a:extLst>
              <a:ext uri="{FF2B5EF4-FFF2-40B4-BE49-F238E27FC236}">
                <a16:creationId xmlns:a16="http://schemas.microsoft.com/office/drawing/2014/main" xmlns="" id="{1F6E4C97-8CAB-4036-9373-9E2122B612F6}"/>
              </a:ext>
            </a:extLst>
          </p:cNvPr>
          <p:cNvSpPr txBox="1">
            <a:spLocks/>
          </p:cNvSpPr>
          <p:nvPr/>
        </p:nvSpPr>
        <p:spPr>
          <a:xfrm>
            <a:off x="3602150" y="2007420"/>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Symptome:</a:t>
            </a:r>
          </a:p>
        </p:txBody>
      </p:sp>
      <p:sp>
        <p:nvSpPr>
          <p:cNvPr id="33" name="Subtitle 2">
            <a:extLst>
              <a:ext uri="{FF2B5EF4-FFF2-40B4-BE49-F238E27FC236}">
                <a16:creationId xmlns:a16="http://schemas.microsoft.com/office/drawing/2014/main" xmlns="" id="{965A91BA-91A2-46A0-B05A-43FD364371D9}"/>
              </a:ext>
            </a:extLst>
          </p:cNvPr>
          <p:cNvSpPr txBox="1">
            <a:spLocks/>
          </p:cNvSpPr>
          <p:nvPr/>
        </p:nvSpPr>
        <p:spPr>
          <a:xfrm>
            <a:off x="5003756" y="5374932"/>
            <a:ext cx="6770233" cy="1371308"/>
          </a:xfrm>
          <a:prstGeom prst="rect">
            <a:avLst/>
          </a:prstGeom>
        </p:spPr>
        <p:txBody>
          <a:bodyPr vert="horz" wrap="square" lIns="34299" tIns="17149" rIns="34299" bIns="17149" numCol="2"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anierungsgeschäft mit neuer Finanzierung</a:t>
            </a:r>
          </a:p>
          <a:p>
            <a:pPr marL="182563" indent="-182563" algn="l">
              <a:lnSpc>
                <a:spcPct val="100000"/>
              </a:lnSpc>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Außergerichtliche</a:t>
            </a:r>
            <a:r>
              <a:rPr lang="en-GB" sz="1800" dirty="0">
                <a:solidFill>
                  <a:srgbClr val="245473"/>
                </a:solidFill>
                <a:latin typeface="+mj-lt"/>
                <a:ea typeface="Lato Light" panose="020F0502020204030203" pitchFamily="34" charset="0"/>
                <a:cs typeface="Mukta ExtraLight" panose="020B0000000000000000" pitchFamily="34" charset="77"/>
              </a:rPr>
              <a:t> </a:t>
            </a:r>
            <a:r>
              <a:rPr lang="en-GB" sz="1800" dirty="0" err="1">
                <a:solidFill>
                  <a:srgbClr val="245473"/>
                </a:solidFill>
                <a:latin typeface="+mj-lt"/>
                <a:ea typeface="Lato Light" panose="020F0502020204030203" pitchFamily="34" charset="0"/>
                <a:cs typeface="Mukta ExtraLight" panose="020B0000000000000000" pitchFamily="34" charset="77"/>
              </a:rPr>
              <a:t>Umstrukturierung</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irma verkaufen</a:t>
            </a:r>
          </a:p>
          <a:p>
            <a:pPr marL="182563" indent="-182563" algn="l">
              <a:lnSpc>
                <a:spcPts val="1313"/>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Umstrukturierung vor Gericht</a:t>
            </a:r>
          </a:p>
          <a:p>
            <a:pPr marL="182563" indent="-182563" algn="l">
              <a:lnSpc>
                <a:spcPts val="1313"/>
              </a:lnSpc>
              <a:buFont typeface="Arial" panose="020B0604020202020204" pitchFamily="34" charset="0"/>
              <a:buChar char="•"/>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xmlns="" id="{89452D08-5BFE-4501-B0A1-B0CAFB0D9DB0}"/>
              </a:ext>
            </a:extLst>
          </p:cNvPr>
          <p:cNvSpPr txBox="1">
            <a:spLocks/>
          </p:cNvSpPr>
          <p:nvPr/>
        </p:nvSpPr>
        <p:spPr>
          <a:xfrm>
            <a:off x="3645252" y="5374932"/>
            <a:ext cx="1883088"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b="1" dirty="0">
                <a:solidFill>
                  <a:srgbClr val="E53292"/>
                </a:solidFill>
                <a:latin typeface="+mj-lt"/>
                <a:ea typeface="Lato Light" panose="020F0502020204030203" pitchFamily="34" charset="0"/>
                <a:cs typeface="Mukta ExtraLight" panose="020B0000000000000000" pitchFamily="34" charset="77"/>
              </a:rPr>
              <a:t>Aktionen:</a:t>
            </a:r>
          </a:p>
        </p:txBody>
      </p:sp>
      <p:sp>
        <p:nvSpPr>
          <p:cNvPr id="13" name="Trapezoid 12">
            <a:extLst>
              <a:ext uri="{FF2B5EF4-FFF2-40B4-BE49-F238E27FC236}">
                <a16:creationId xmlns:a16="http://schemas.microsoft.com/office/drawing/2014/main" xmlns="" id="{39210B4B-CAF6-4E86-8239-5405095CD342}"/>
              </a:ext>
            </a:extLst>
          </p:cNvPr>
          <p:cNvSpPr/>
          <p:nvPr/>
        </p:nvSpPr>
        <p:spPr>
          <a:xfrm rot="5400000">
            <a:off x="7767415" y="3089311"/>
            <a:ext cx="1191128" cy="1889760"/>
          </a:xfrm>
          <a:prstGeom prst="trapezoid">
            <a:avLst>
              <a:gd name="adj" fmla="val 23751"/>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7381670" y="3682611"/>
            <a:ext cx="1883088" cy="64569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dirty="0" err="1">
                <a:solidFill>
                  <a:schemeClr val="bg1"/>
                </a:solidFill>
                <a:latin typeface="+mj-lt"/>
                <a:ea typeface="Lato Light" panose="020F0502020204030203" pitchFamily="34" charset="0"/>
                <a:cs typeface="Mukta ExtraLight" panose="020B0000000000000000" pitchFamily="34" charset="77"/>
              </a:rPr>
              <a:t>Späte</a:t>
            </a:r>
            <a:r>
              <a:rPr lang="en-GB" sz="1600" b="1" dirty="0">
                <a:solidFill>
                  <a:schemeClr val="bg1"/>
                </a:solidFill>
                <a:latin typeface="+mj-lt"/>
                <a:ea typeface="Lato Light" panose="020F0502020204030203" pitchFamily="34" charset="0"/>
                <a:cs typeface="Mukta ExtraLight" panose="020B0000000000000000" pitchFamily="34" charset="77"/>
              </a:rPr>
              <a:t> </a:t>
            </a:r>
            <a:r>
              <a:rPr lang="en-GB" sz="1600" b="1" dirty="0" err="1">
                <a:solidFill>
                  <a:schemeClr val="bg1"/>
                </a:solidFill>
                <a:latin typeface="+mj-lt"/>
                <a:ea typeface="Lato Light" panose="020F0502020204030203" pitchFamily="34" charset="0"/>
                <a:cs typeface="Mukta ExtraLight" panose="020B0000000000000000" pitchFamily="34" charset="77"/>
              </a:rPr>
              <a:t>Krise</a:t>
            </a:r>
            <a:endParaRPr lang="en-GB" sz="1600" b="1" dirty="0">
              <a:solidFill>
                <a:schemeClr val="bg1"/>
              </a:solidFill>
              <a:latin typeface="+mj-lt"/>
              <a:ea typeface="Lato Light" panose="020F0502020204030203" pitchFamily="34" charset="0"/>
              <a:cs typeface="Mukta ExtraLight" panose="020B0000000000000000" pitchFamily="34" charset="77"/>
            </a:endParaRPr>
          </a:p>
          <a:p>
            <a:pPr>
              <a:lnSpc>
                <a:spcPts val="1313"/>
              </a:lnSpc>
            </a:pPr>
            <a:endParaRPr lang="en-GB" sz="1600" b="1" dirty="0">
              <a:solidFill>
                <a:schemeClr val="bg1"/>
              </a:solidFill>
              <a:latin typeface="+mj-lt"/>
              <a:ea typeface="Lato Light" panose="020F0502020204030203" pitchFamily="34" charset="0"/>
              <a:cs typeface="Mukta ExtraLight" panose="020B0000000000000000" pitchFamily="34" charset="77"/>
            </a:endParaRPr>
          </a:p>
          <a:p>
            <a:pPr marL="285750" indent="-285750">
              <a:lnSpc>
                <a:spcPts val="1313"/>
              </a:lnSpc>
              <a:buFont typeface="Wingdings" panose="05000000000000000000" pitchFamily="2" charset="2"/>
              <a:buChar char="à"/>
            </a:pPr>
            <a:r>
              <a:rPr lang="en-GB" sz="1600" b="1" dirty="0" err="1">
                <a:solidFill>
                  <a:schemeClr val="bg1"/>
                </a:solidFill>
                <a:latin typeface="+mj-lt"/>
                <a:ea typeface="Lato Light" panose="020F0502020204030203" pitchFamily="34" charset="0"/>
                <a:cs typeface="Mukta ExtraLight" panose="020B0000000000000000" pitchFamily="34" charset="77"/>
                <a:sym typeface="Wingdings" panose="05000000000000000000" pitchFamily="2" charset="2"/>
              </a:rPr>
              <a:t>Insolvenz</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12" name="Subtitle 2">
            <a:extLst>
              <a:ext uri="{FF2B5EF4-FFF2-40B4-BE49-F238E27FC236}">
                <a16:creationId xmlns:a16="http://schemas.microsoft.com/office/drawing/2014/main" xmlns="" id="{D2942D0A-BB4C-4283-A493-C6E2CD214BF4}"/>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sche Optionen</a:t>
            </a:r>
            <a:endParaRPr lang="en-GB" sz="1600" b="1" dirty="0">
              <a:latin typeface="+mj-lt"/>
              <a:ea typeface="Lato Light" panose="020F0502020204030203" pitchFamily="34" charset="0"/>
              <a:cs typeface="Mukta ExtraLight" panose="020B0000000000000000" pitchFamily="34" charset="77"/>
            </a:endParaRPr>
          </a:p>
        </p:txBody>
      </p:sp>
      <p:sp>
        <p:nvSpPr>
          <p:cNvPr id="17" name="Textplatzhalter 1">
            <a:extLst>
              <a:ext uri="{FF2B5EF4-FFF2-40B4-BE49-F238E27FC236}">
                <a16:creationId xmlns:a16="http://schemas.microsoft.com/office/drawing/2014/main" xmlns="" id="{B70A8616-CFF3-42FA-AE47-C633A03CF531}"/>
              </a:ext>
            </a:extLst>
          </p:cNvPr>
          <p:cNvSpPr txBox="1">
            <a:spLocks/>
          </p:cNvSpPr>
          <p:nvPr/>
        </p:nvSpPr>
        <p:spPr>
          <a:xfrm>
            <a:off x="1374262" y="431664"/>
            <a:ext cx="7036493"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Strategische</a:t>
            </a:r>
            <a:r>
              <a:rPr lang="en-GB" dirty="0"/>
              <a:t> </a:t>
            </a:r>
            <a:r>
              <a:rPr lang="en-GB" dirty="0" err="1"/>
              <a:t>Optionen</a:t>
            </a:r>
            <a:r>
              <a:rPr lang="en-GB" dirty="0"/>
              <a:t> in der </a:t>
            </a:r>
            <a:r>
              <a:rPr lang="en-GB" dirty="0" err="1"/>
              <a:t>Krise</a:t>
            </a:r>
            <a:r>
              <a:rPr lang="en-GB" dirty="0"/>
              <a:t>: </a:t>
            </a:r>
            <a:r>
              <a:rPr lang="en-GB" dirty="0" err="1"/>
              <a:t>Späte</a:t>
            </a:r>
            <a:r>
              <a:rPr lang="en-GB" dirty="0"/>
              <a:t> </a:t>
            </a:r>
            <a:r>
              <a:rPr lang="en-GB" dirty="0" err="1"/>
              <a:t>Krise</a:t>
            </a:r>
            <a:endParaRPr lang="en-GB" dirty="0"/>
          </a:p>
        </p:txBody>
      </p:sp>
    </p:spTree>
    <p:extLst>
      <p:ext uri="{BB962C8B-B14F-4D97-AF65-F5344CB8AC3E}">
        <p14:creationId xmlns:p14="http://schemas.microsoft.com/office/powerpoint/2010/main" val="2685984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550277" y="2142491"/>
            <a:ext cx="2351949" cy="245225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enn die Restrukturierung scheitert, bleibt nur die Möglichkeit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der Liquidation</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des Unternehmens. </a:t>
            </a:r>
          </a:p>
        </p:txBody>
      </p:sp>
      <p:sp>
        <p:nvSpPr>
          <p:cNvPr id="5" name="Gleichschenkliges Dreieck 4">
            <a:extLst>
              <a:ext uri="{FF2B5EF4-FFF2-40B4-BE49-F238E27FC236}">
                <a16:creationId xmlns:a16="http://schemas.microsoft.com/office/drawing/2014/main" xmlns="" id="{58C77183-A2D9-4AB8-A3EA-BC130DF4F729}"/>
              </a:ext>
            </a:extLst>
          </p:cNvPr>
          <p:cNvSpPr/>
          <p:nvPr/>
        </p:nvSpPr>
        <p:spPr>
          <a:xfrm rot="5400000">
            <a:off x="6467512" y="71333"/>
            <a:ext cx="2272626" cy="7930491"/>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2" name="Trapezoid 11">
            <a:extLst>
              <a:ext uri="{FF2B5EF4-FFF2-40B4-BE49-F238E27FC236}">
                <a16:creationId xmlns:a16="http://schemas.microsoft.com/office/drawing/2014/main" xmlns="" id="{94900445-C24F-4DB3-9F60-AC03B625799C}"/>
              </a:ext>
            </a:extLst>
          </p:cNvPr>
          <p:cNvSpPr/>
          <p:nvPr/>
        </p:nvSpPr>
        <p:spPr>
          <a:xfrm rot="5400000">
            <a:off x="10108943" y="2888798"/>
            <a:ext cx="645700" cy="2274556"/>
          </a:xfrm>
          <a:prstGeom prst="trapezoid">
            <a:avLst>
              <a:gd name="adj"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8980644" y="3938431"/>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8" name="Subtitle 2">
            <a:extLst>
              <a:ext uri="{FF2B5EF4-FFF2-40B4-BE49-F238E27FC236}">
                <a16:creationId xmlns:a16="http://schemas.microsoft.com/office/drawing/2014/main" xmlns="" id="{FEB53C4F-2ED9-49C0-A45C-AA24AED145F8}"/>
              </a:ext>
            </a:extLst>
          </p:cNvPr>
          <p:cNvSpPr txBox="1">
            <a:spLocks/>
          </p:cNvSpPr>
          <p:nvPr/>
        </p:nvSpPr>
        <p:spPr>
          <a:xfrm rot="16200000">
            <a:off x="2553713" y="3929685"/>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latin typeface="+mj-lt"/>
                <a:ea typeface="Lato Light" panose="020F0502020204030203" pitchFamily="34" charset="0"/>
                <a:cs typeface="Mukta ExtraLight" panose="020B0000000000000000" pitchFamily="34" charset="77"/>
              </a:rPr>
              <a:t>Strategische Optionen</a:t>
            </a:r>
            <a:endParaRPr lang="en-GB" sz="1600" b="1" dirty="0">
              <a:latin typeface="+mj-lt"/>
              <a:ea typeface="Lato Light" panose="020F0502020204030203" pitchFamily="34" charset="0"/>
              <a:cs typeface="Mukta ExtraLight" panose="020B0000000000000000" pitchFamily="34" charset="77"/>
            </a:endParaRPr>
          </a:p>
        </p:txBody>
      </p:sp>
      <p:sp>
        <p:nvSpPr>
          <p:cNvPr id="11" name="Textplatzhalter 1">
            <a:extLst>
              <a:ext uri="{FF2B5EF4-FFF2-40B4-BE49-F238E27FC236}">
                <a16:creationId xmlns:a16="http://schemas.microsoft.com/office/drawing/2014/main" xmlns="" id="{760378B1-ECA7-40F8-8347-18C88C351CB3}"/>
              </a:ext>
            </a:extLst>
          </p:cNvPr>
          <p:cNvSpPr txBox="1">
            <a:spLocks/>
          </p:cNvSpPr>
          <p:nvPr/>
        </p:nvSpPr>
        <p:spPr>
          <a:xfrm>
            <a:off x="1374262" y="431664"/>
            <a:ext cx="7036493"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Strategische</a:t>
            </a:r>
            <a:r>
              <a:rPr lang="en-GB" dirty="0"/>
              <a:t> </a:t>
            </a:r>
            <a:r>
              <a:rPr lang="en-GB" dirty="0" err="1"/>
              <a:t>Optionen</a:t>
            </a:r>
            <a:r>
              <a:rPr lang="en-GB" dirty="0"/>
              <a:t> in der </a:t>
            </a:r>
            <a:r>
              <a:rPr lang="en-GB" dirty="0" err="1"/>
              <a:t>Krise</a:t>
            </a:r>
            <a:r>
              <a:rPr lang="en-GB" dirty="0"/>
              <a:t>: Liquidation</a:t>
            </a:r>
          </a:p>
        </p:txBody>
      </p:sp>
    </p:spTree>
    <p:extLst>
      <p:ext uri="{BB962C8B-B14F-4D97-AF65-F5344CB8AC3E}">
        <p14:creationId xmlns:p14="http://schemas.microsoft.com/office/powerpoint/2010/main" val="269831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FC3F1630-F84C-4DBB-A92E-B4CBFC5956D4}"/>
              </a:ext>
            </a:extLst>
          </p:cNvPr>
          <p:cNvSpPr>
            <a:spLocks noGrp="1"/>
          </p:cNvSpPr>
          <p:nvPr>
            <p:ph type="body" sz="quarter" idx="11"/>
          </p:nvPr>
        </p:nvSpPr>
        <p:spPr>
          <a:xfrm>
            <a:off x="494411" y="2723027"/>
            <a:ext cx="5285903" cy="1582271"/>
          </a:xfrm>
        </p:spPr>
        <p:txBody>
          <a:bodyPr/>
          <a:lstStyle/>
          <a:p>
            <a:r>
              <a:rPr lang="en-GB" dirty="0"/>
              <a:t>Die </a:t>
            </a:r>
            <a:r>
              <a:rPr lang="en-GB"/>
              <a:t>strategische Seite der Restrukturierung </a:t>
            </a:r>
            <a:endParaRPr lang="en-GB" dirty="0"/>
          </a:p>
        </p:txBody>
      </p:sp>
    </p:spTree>
    <p:extLst>
      <p:ext uri="{BB962C8B-B14F-4D97-AF65-F5344CB8AC3E}">
        <p14:creationId xmlns:p14="http://schemas.microsoft.com/office/powerpoint/2010/main" val="1601787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05146" y="531114"/>
            <a:ext cx="8852375" cy="697353"/>
          </a:xfrm>
        </p:spPr>
        <p:txBody>
          <a:bodyPr>
            <a:normAutofit/>
          </a:bodyPr>
          <a:lstStyle/>
          <a:p>
            <a:r>
              <a:rPr lang="en-GB" dirty="0"/>
              <a:t>Inhalt von Restrukturierungskonzept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329735" y="1783083"/>
            <a:ext cx="4228011" cy="546846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as Restrukturierungskonzept enthält einen durchdachten und dokumentierten Weg der Restrukturierung von Anfang bis Ende und eine klare Aussage </a:t>
            </a:r>
            <a:r>
              <a:rPr lang="en-GB" sz="2000" dirty="0" err="1">
                <a:solidFill>
                  <a:srgbClr val="245473"/>
                </a:solidFill>
                <a:latin typeface="+mj-lt"/>
                <a:ea typeface="Open Sans Light" panose="020B0306030504020204" pitchFamily="34" charset="0"/>
                <a:cs typeface="Open Sans Light" panose="020B0306030504020204" pitchFamily="34" charset="0"/>
              </a:rPr>
              <a:t>über</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deren</a:t>
            </a:r>
            <a:r>
              <a:rPr lang="en-GB" sz="2000" dirty="0">
                <a:solidFill>
                  <a:srgbClr val="245473"/>
                </a:solidFill>
                <a:latin typeface="+mj-lt"/>
                <a:ea typeface="Open Sans Light" panose="020B0306030504020204" pitchFamily="34" charset="0"/>
                <a:cs typeface="Open Sans Light" panose="020B0306030504020204" pitchFamily="34" charset="0"/>
              </a:rPr>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Erfolgsaussichten.</a:t>
            </a:r>
            <a:endParaRPr lang="en-US" sz="2000" dirty="0">
              <a:solidFill>
                <a:srgbClr val="245473"/>
              </a:solidFill>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Mit einem Restrukturierungskonzept können die Erfolgschancen effektiv erhöht werden im Vergleich zu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a:solidFill>
                  <a:srgbClr val="245473"/>
                </a:solidFill>
                <a:latin typeface="+mj-lt"/>
                <a:ea typeface="Open Sans Light" panose="020B0306030504020204" pitchFamily="34" charset="0"/>
                <a:cs typeface="Open Sans Light" panose="020B0306030504020204" pitchFamily="34" charset="0"/>
              </a:rPr>
              <a:t>einer Restrukturierung ohne </a:t>
            </a:r>
            <a:br>
              <a:rPr lang="en-GB" sz="2000" dirty="0">
                <a:solidFill>
                  <a:srgbClr val="245473"/>
                </a:solidFill>
                <a:latin typeface="+mj-lt"/>
                <a:ea typeface="Open Sans Light" panose="020B0306030504020204" pitchFamily="34" charset="0"/>
                <a:cs typeface="Open Sans Light" panose="020B0306030504020204" pitchFamily="34" charset="0"/>
              </a:rPr>
            </a:br>
            <a:r>
              <a:rPr lang="en-GB" sz="2000" dirty="0" err="1">
                <a:solidFill>
                  <a:srgbClr val="245473"/>
                </a:solidFill>
                <a:latin typeface="+mj-lt"/>
                <a:ea typeface="Open Sans Light" panose="020B0306030504020204" pitchFamily="34" charset="0"/>
                <a:cs typeface="Open Sans Light" panose="020B0306030504020204" pitchFamily="34" charset="0"/>
              </a:rPr>
              <a:t>einem</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entsprechend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Konzept</a:t>
            </a:r>
            <a:r>
              <a:rPr lang="en-GB" sz="2000" dirty="0">
                <a:solidFill>
                  <a:srgbClr val="245473"/>
                </a:solidFill>
                <a:latin typeface="+mj-lt"/>
                <a:ea typeface="Open Sans Light" panose="020B0306030504020204" pitchFamily="34" charset="0"/>
                <a:cs typeface="Open Sans Light" panose="020B0306030504020204" pitchFamily="34" charset="0"/>
              </a:rPr>
              <a:t>. Es </a:t>
            </a:r>
            <a:r>
              <a:rPr lang="en-GB" sz="2000" dirty="0" err="1">
                <a:solidFill>
                  <a:srgbClr val="245473"/>
                </a:solidFill>
                <a:latin typeface="+mj-lt"/>
                <a:ea typeface="Open Sans Light" panose="020B0306030504020204" pitchFamily="34" charset="0"/>
                <a:cs typeface="Open Sans Light" panose="020B0306030504020204" pitchFamily="34" charset="0"/>
              </a:rPr>
              <a:t>können</a:t>
            </a:r>
            <a:r>
              <a:rPr lang="en-GB" sz="2000" dirty="0">
                <a:solidFill>
                  <a:srgbClr val="245473"/>
                </a:solidFill>
                <a:latin typeface="+mj-lt"/>
                <a:ea typeface="Open Sans Light" panose="020B0306030504020204" pitchFamily="34" charset="0"/>
                <a:cs typeface="Open Sans Light" panose="020B0306030504020204" pitchFamily="34" charset="0"/>
              </a:rPr>
              <a:t> die oben genannten Haftungs- und Anfechtungsrisiken deutlich reduziert werden (abhängig von den rechtlichen </a:t>
            </a:r>
            <a:r>
              <a:rPr lang="en-GB" sz="2000" dirty="0" err="1">
                <a:solidFill>
                  <a:srgbClr val="245473"/>
                </a:solidFill>
                <a:latin typeface="+mj-lt"/>
                <a:ea typeface="Open Sans Light" panose="020B0306030504020204" pitchFamily="34" charset="0"/>
                <a:cs typeface="Open Sans Light" panose="020B0306030504020204" pitchFamily="34" charset="0"/>
              </a:rPr>
              <a:t>Rahmenbedingung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Ihres</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Landes</a:t>
            </a:r>
            <a:r>
              <a:rPr lang="en-GB" sz="2000" dirty="0">
                <a:solidFill>
                  <a:srgbClr val="245473"/>
                </a:solidFill>
                <a:latin typeface="+mj-lt"/>
                <a:ea typeface="Open Sans Light" panose="020B0306030504020204" pitchFamily="34" charset="0"/>
                <a:cs typeface="Open Sans Light" panose="020B0306030504020204" pitchFamily="34" charset="0"/>
              </a:rPr>
              <a:t>).</a:t>
            </a:r>
            <a:endParaRPr lang="en-GB" sz="2000" dirty="0">
              <a:solidFill>
                <a:srgbClr val="245473"/>
              </a:solidFill>
              <a:latin typeface="Calibri Light"/>
            </a:endParaRPr>
          </a:p>
          <a:p>
            <a:pPr algn="l">
              <a:lnSpc>
                <a:spcPct val="100000"/>
              </a:lnSpc>
              <a:spcBef>
                <a:spcPts val="600"/>
              </a:spcBef>
            </a:pPr>
            <a:endParaRPr lang="en-GB" sz="2000" b="1" dirty="0">
              <a:solidFill>
                <a:schemeClr val="tx1"/>
              </a:solidFill>
              <a:latin typeface="+mj-lt"/>
              <a:ea typeface="Open Sans Light" panose="020B0306030504020204" pitchFamily="34" charset="0"/>
              <a:cs typeface="Open Sans Light" panose="020B0306030504020204" pitchFamily="34" charset="0"/>
            </a:endParaRPr>
          </a:p>
        </p:txBody>
      </p:sp>
      <p:sp>
        <p:nvSpPr>
          <p:cNvPr id="31" name="Subtitle 2">
            <a:extLst>
              <a:ext uri="{FF2B5EF4-FFF2-40B4-BE49-F238E27FC236}">
                <a16:creationId xmlns:a16="http://schemas.microsoft.com/office/drawing/2014/main" xmlns="" id="{76B1E94E-634D-44F0-8634-92AAFEC14166}"/>
              </a:ext>
            </a:extLst>
          </p:cNvPr>
          <p:cNvSpPr txBox="1">
            <a:spLocks/>
          </p:cNvSpPr>
          <p:nvPr/>
        </p:nvSpPr>
        <p:spPr>
          <a:xfrm>
            <a:off x="9248426" y="4068646"/>
            <a:ext cx="1883088"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13"/>
              </a:lnSpc>
            </a:pPr>
            <a:r>
              <a:rPr lang="en-GB" sz="1600" b="1">
                <a:solidFill>
                  <a:schemeClr val="bg1"/>
                </a:solidFill>
                <a:latin typeface="+mj-lt"/>
                <a:ea typeface="Lato Light" panose="020F0502020204030203" pitchFamily="34" charset="0"/>
                <a:cs typeface="Mukta ExtraLight" panose="020B0000000000000000" pitchFamily="34" charset="77"/>
              </a:rPr>
              <a:t>Liquidation</a:t>
            </a:r>
            <a:endParaRPr lang="en-GB" sz="1600" b="1" dirty="0">
              <a:solidFill>
                <a:schemeClr val="bg1"/>
              </a:solidFill>
              <a:latin typeface="+mj-lt"/>
              <a:ea typeface="Lato Light" panose="020F0502020204030203" pitchFamily="34" charset="0"/>
              <a:cs typeface="Mukta ExtraLight" panose="020B0000000000000000" pitchFamily="34" charset="77"/>
            </a:endParaRPr>
          </a:p>
        </p:txBody>
      </p:sp>
      <p:sp>
        <p:nvSpPr>
          <p:cNvPr id="7" name="Freeform 43">
            <a:extLst>
              <a:ext uri="{FF2B5EF4-FFF2-40B4-BE49-F238E27FC236}">
                <a16:creationId xmlns:a16="http://schemas.microsoft.com/office/drawing/2014/main" xmlns="" id="{10A60327-7D96-495F-8512-39994C311CB4}"/>
              </a:ext>
            </a:extLst>
          </p:cNvPr>
          <p:cNvSpPr>
            <a:spLocks/>
          </p:cNvSpPr>
          <p:nvPr/>
        </p:nvSpPr>
        <p:spPr bwMode="auto">
          <a:xfrm>
            <a:off x="5780965" y="3625115"/>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 name="Freeform 36">
            <a:extLst>
              <a:ext uri="{FF2B5EF4-FFF2-40B4-BE49-F238E27FC236}">
                <a16:creationId xmlns:a16="http://schemas.microsoft.com/office/drawing/2014/main" xmlns="" id="{999339FF-8EB8-44FF-B960-45799EDF7C5A}"/>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 name="Freeform 37">
            <a:extLst>
              <a:ext uri="{FF2B5EF4-FFF2-40B4-BE49-F238E27FC236}">
                <a16:creationId xmlns:a16="http://schemas.microsoft.com/office/drawing/2014/main" xmlns="" id="{32740010-B222-43C7-B252-DA109FFD2499}"/>
              </a:ext>
            </a:extLst>
          </p:cNvPr>
          <p:cNvSpPr>
            <a:spLocks/>
          </p:cNvSpPr>
          <p:nvPr/>
        </p:nvSpPr>
        <p:spPr bwMode="auto">
          <a:xfrm>
            <a:off x="5043413" y="362511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TextBox 47">
            <a:extLst>
              <a:ext uri="{FF2B5EF4-FFF2-40B4-BE49-F238E27FC236}">
                <a16:creationId xmlns:a16="http://schemas.microsoft.com/office/drawing/2014/main" xmlns="" id="{24FE2CA3-F0D2-4096-8B89-DA2879EA50FF}"/>
              </a:ext>
            </a:extLst>
          </p:cNvPr>
          <p:cNvSpPr txBox="1"/>
          <p:nvPr/>
        </p:nvSpPr>
        <p:spPr>
          <a:xfrm>
            <a:off x="4959217" y="3635990"/>
            <a:ext cx="1413336" cy="584775"/>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Vision, </a:t>
            </a:r>
            <a:r>
              <a:rPr lang="en-GB" sz="1600" b="1" dirty="0" err="1">
                <a:solidFill>
                  <a:schemeClr val="bg1"/>
                </a:solidFill>
                <a:latin typeface="+mj-lt"/>
                <a:ea typeface="Roboto" charset="0"/>
                <a:cs typeface="Roboto" charset="0"/>
              </a:rPr>
              <a:t>Auftrag</a:t>
            </a:r>
            <a:r>
              <a:rPr lang="en-GB" sz="1600" b="1" dirty="0">
                <a:solidFill>
                  <a:schemeClr val="bg1"/>
                </a:solidFill>
                <a:latin typeface="+mj-lt"/>
                <a:ea typeface="Roboto" charset="0"/>
                <a:cs typeface="Roboto" charset="0"/>
              </a:rPr>
              <a:t> </a:t>
            </a:r>
            <a:r>
              <a:rPr lang="en-GB" sz="1600" b="1" dirty="0">
                <a:latin typeface="+mj-lt"/>
                <a:ea typeface="Roboto" charset="0"/>
                <a:cs typeface="Roboto" charset="0"/>
              </a:rPr>
              <a:t/>
            </a:r>
            <a:br>
              <a:rPr lang="en-GB" sz="1600" b="1" dirty="0">
                <a:latin typeface="+mj-lt"/>
                <a:ea typeface="Roboto" charset="0"/>
                <a:cs typeface="Roboto" charset="0"/>
              </a:rPr>
            </a:br>
            <a:r>
              <a:rPr lang="en-GB" sz="1600" b="1" dirty="0">
                <a:solidFill>
                  <a:schemeClr val="bg1"/>
                </a:solidFill>
                <a:latin typeface="+mj-lt"/>
                <a:ea typeface="Roboto" charset="0"/>
                <a:cs typeface="Roboto" charset="0"/>
              </a:rPr>
              <a:t>&amp; </a:t>
            </a:r>
            <a:r>
              <a:rPr lang="en-GB" sz="1600" b="1" dirty="0" err="1">
                <a:solidFill>
                  <a:schemeClr val="bg1"/>
                </a:solidFill>
                <a:latin typeface="+mj-lt"/>
                <a:ea typeface="Roboto" charset="0"/>
                <a:cs typeface="Roboto" charset="0"/>
              </a:rPr>
              <a:t>Maßnahmen</a:t>
            </a:r>
            <a:endParaRPr lang="en-GB" sz="1600" b="1" dirty="0">
              <a:solidFill>
                <a:schemeClr val="bg1"/>
              </a:solidFill>
              <a:latin typeface="+mj-lt"/>
              <a:ea typeface="Roboto" charset="0"/>
              <a:cs typeface="Roboto" charset="0"/>
            </a:endParaRPr>
          </a:p>
        </p:txBody>
      </p:sp>
      <p:sp>
        <p:nvSpPr>
          <p:cNvPr id="12" name="Rectangle 48">
            <a:extLst>
              <a:ext uri="{FF2B5EF4-FFF2-40B4-BE49-F238E27FC236}">
                <a16:creationId xmlns:a16="http://schemas.microsoft.com/office/drawing/2014/main" xmlns="" id="{063DE694-D917-41AA-9416-2B9195B97796}"/>
              </a:ext>
            </a:extLst>
          </p:cNvPr>
          <p:cNvSpPr>
            <a:spLocks/>
          </p:cNvSpPr>
          <p:nvPr/>
        </p:nvSpPr>
        <p:spPr bwMode="auto">
          <a:xfrm>
            <a:off x="5392235" y="4040113"/>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dirty="0">
                <a:solidFill>
                  <a:schemeClr val="bg1"/>
                </a:solidFill>
                <a:latin typeface="+mj-lt"/>
                <a:ea typeface="Roboto" charset="0"/>
                <a:cs typeface="Roboto" charset="0"/>
                <a:sym typeface="Bebas Neue" charset="0"/>
              </a:rPr>
              <a:t>02</a:t>
            </a:r>
          </a:p>
        </p:txBody>
      </p:sp>
      <p:sp>
        <p:nvSpPr>
          <p:cNvPr id="13" name="TextBox 49">
            <a:extLst>
              <a:ext uri="{FF2B5EF4-FFF2-40B4-BE49-F238E27FC236}">
                <a16:creationId xmlns:a16="http://schemas.microsoft.com/office/drawing/2014/main" xmlns="" id="{AB10EE70-B55F-43A1-BEDD-FDBA032F708C}"/>
              </a:ext>
            </a:extLst>
          </p:cNvPr>
          <p:cNvSpPr txBox="1"/>
          <p:nvPr/>
        </p:nvSpPr>
        <p:spPr>
          <a:xfrm>
            <a:off x="6492597" y="3623362"/>
            <a:ext cx="5572222"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Darstellung der Vision und des Leitbildes des restrukturierten Unternehmens. Aussagen zu den notwendigen operativen oder finanziellen Restrukturierungsmaßnahmen und Sanierungsbeiträgen der verschiedenen Beteiligten.</a:t>
            </a:r>
          </a:p>
        </p:txBody>
      </p:sp>
      <p:sp>
        <p:nvSpPr>
          <p:cNvPr id="14" name="Freeform 43">
            <a:extLst>
              <a:ext uri="{FF2B5EF4-FFF2-40B4-BE49-F238E27FC236}">
                <a16:creationId xmlns:a16="http://schemas.microsoft.com/office/drawing/2014/main" xmlns="" id="{F80E4697-CB9F-4AB0-902E-3D174455F0DE}"/>
              </a:ext>
            </a:extLst>
          </p:cNvPr>
          <p:cNvSpPr>
            <a:spLocks/>
          </p:cNvSpPr>
          <p:nvPr/>
        </p:nvSpPr>
        <p:spPr bwMode="auto">
          <a:xfrm>
            <a:off x="5780965" y="4855667"/>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5" name="Freeform 36">
            <a:extLst>
              <a:ext uri="{FF2B5EF4-FFF2-40B4-BE49-F238E27FC236}">
                <a16:creationId xmlns:a16="http://schemas.microsoft.com/office/drawing/2014/main" xmlns="" id="{49494F74-65AD-48D4-81B4-AD9B6A52F0C8}"/>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6" name="Freeform 37">
            <a:extLst>
              <a:ext uri="{FF2B5EF4-FFF2-40B4-BE49-F238E27FC236}">
                <a16:creationId xmlns:a16="http://schemas.microsoft.com/office/drawing/2014/main" xmlns="" id="{39BF6772-0A33-4A89-A8AC-0C867B8FD1E1}"/>
              </a:ext>
            </a:extLst>
          </p:cNvPr>
          <p:cNvSpPr>
            <a:spLocks/>
          </p:cNvSpPr>
          <p:nvPr/>
        </p:nvSpPr>
        <p:spPr bwMode="auto">
          <a:xfrm>
            <a:off x="5043413" y="485566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TextBox 56">
            <a:extLst>
              <a:ext uri="{FF2B5EF4-FFF2-40B4-BE49-F238E27FC236}">
                <a16:creationId xmlns:a16="http://schemas.microsoft.com/office/drawing/2014/main" xmlns="" id="{3B7337CA-FE2D-467B-A8AD-81B8BC6A4816}"/>
              </a:ext>
            </a:extLst>
          </p:cNvPr>
          <p:cNvSpPr txBox="1"/>
          <p:nvPr/>
        </p:nvSpPr>
        <p:spPr>
          <a:xfrm>
            <a:off x="4996916" y="5091366"/>
            <a:ext cx="1228221" cy="338554"/>
          </a:xfrm>
          <a:prstGeom prst="rect">
            <a:avLst/>
          </a:prstGeom>
          <a:noFill/>
        </p:spPr>
        <p:txBody>
          <a:bodyPr wrap="none" lIns="91440" tIns="45720" rIns="91440" bIns="45720" rtlCol="0" anchor="t">
            <a:spAutoFit/>
          </a:bodyPr>
          <a:lstStyle/>
          <a:p>
            <a:pPr algn="ctr"/>
            <a:r>
              <a:rPr lang="en-GB" sz="1600" b="1" dirty="0">
                <a:solidFill>
                  <a:schemeClr val="bg1"/>
                </a:solidFill>
                <a:latin typeface="+mj-lt"/>
                <a:ea typeface="Roboto" charset="0"/>
                <a:cs typeface="Roboto" charset="0"/>
              </a:rPr>
              <a:t>Businessplan</a:t>
            </a:r>
          </a:p>
        </p:txBody>
      </p:sp>
      <p:sp>
        <p:nvSpPr>
          <p:cNvPr id="18" name="Rectangle 59">
            <a:extLst>
              <a:ext uri="{FF2B5EF4-FFF2-40B4-BE49-F238E27FC236}">
                <a16:creationId xmlns:a16="http://schemas.microsoft.com/office/drawing/2014/main" xmlns="" id="{BEB4029C-F692-4996-B015-D82C01BA231E}"/>
              </a:ext>
            </a:extLst>
          </p:cNvPr>
          <p:cNvSpPr>
            <a:spLocks/>
          </p:cNvSpPr>
          <p:nvPr/>
        </p:nvSpPr>
        <p:spPr bwMode="auto">
          <a:xfrm>
            <a:off x="5392235" y="5270665"/>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3</a:t>
            </a:r>
            <a:endParaRPr lang="en-GB" sz="3601" b="1" spc="113" dirty="0">
              <a:solidFill>
                <a:schemeClr val="bg1"/>
              </a:solidFill>
              <a:latin typeface="+mj-lt"/>
              <a:ea typeface="Roboto" charset="0"/>
              <a:cs typeface="Roboto" charset="0"/>
              <a:sym typeface="Bebas Neue" charset="0"/>
            </a:endParaRPr>
          </a:p>
        </p:txBody>
      </p:sp>
      <p:sp>
        <p:nvSpPr>
          <p:cNvPr id="19" name="TextBox 80">
            <a:extLst>
              <a:ext uri="{FF2B5EF4-FFF2-40B4-BE49-F238E27FC236}">
                <a16:creationId xmlns:a16="http://schemas.microsoft.com/office/drawing/2014/main" xmlns="" id="{5395CE55-7837-4FE4-93F3-E67DC912226D}"/>
              </a:ext>
            </a:extLst>
          </p:cNvPr>
          <p:cNvSpPr txBox="1"/>
          <p:nvPr/>
        </p:nvSpPr>
        <p:spPr>
          <a:xfrm>
            <a:off x="6492598" y="4870438"/>
            <a:ext cx="5153023" cy="970779"/>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Darstellung der Liquiditäts-, Ertrags- und Vermögensplanung des Unternehmens unter Berücksichtigung der Sanierungsmaßnahmen und -beiträge (integrierte </a:t>
            </a:r>
            <a:r>
              <a:rPr lang="en-GB" dirty="0" err="1">
                <a:solidFill>
                  <a:schemeClr val="bg1"/>
                </a:solidFill>
                <a:latin typeface="+mj-lt"/>
                <a:ea typeface="Lato Light" charset="0"/>
                <a:cs typeface="Lato Light" charset="0"/>
              </a:rPr>
              <a:t>Unternehmensplanung</a:t>
            </a:r>
            <a:r>
              <a:rPr lang="en-GB" dirty="0">
                <a:solidFill>
                  <a:schemeClr val="bg1"/>
                </a:solidFill>
                <a:latin typeface="+mj-lt"/>
                <a:ea typeface="Lato Light" charset="0"/>
                <a:cs typeface="Lato Light" charset="0"/>
              </a:rPr>
              <a:t>).</a:t>
            </a:r>
          </a:p>
        </p:txBody>
      </p:sp>
      <p:sp>
        <p:nvSpPr>
          <p:cNvPr id="20" name="Freeform 43">
            <a:extLst>
              <a:ext uri="{FF2B5EF4-FFF2-40B4-BE49-F238E27FC236}">
                <a16:creationId xmlns:a16="http://schemas.microsoft.com/office/drawing/2014/main" xmlns="" id="{30604E6C-1FF4-4246-B35C-B15AE420B1AB}"/>
              </a:ext>
            </a:extLst>
          </p:cNvPr>
          <p:cNvSpPr>
            <a:spLocks/>
          </p:cNvSpPr>
          <p:nvPr/>
        </p:nvSpPr>
        <p:spPr bwMode="auto">
          <a:xfrm>
            <a:off x="5801184" y="2379791"/>
            <a:ext cx="619534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1" name="Freeform 36">
            <a:extLst>
              <a:ext uri="{FF2B5EF4-FFF2-40B4-BE49-F238E27FC236}">
                <a16:creationId xmlns:a16="http://schemas.microsoft.com/office/drawing/2014/main" xmlns="" id="{0C488950-EF86-4F53-9575-F5C2F764F182}"/>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Freeform 37">
            <a:extLst>
              <a:ext uri="{FF2B5EF4-FFF2-40B4-BE49-F238E27FC236}">
                <a16:creationId xmlns:a16="http://schemas.microsoft.com/office/drawing/2014/main" xmlns="" id="{EF749FCF-1022-451D-A247-DA3DBFF70986}"/>
              </a:ext>
            </a:extLst>
          </p:cNvPr>
          <p:cNvSpPr>
            <a:spLocks/>
          </p:cNvSpPr>
          <p:nvPr/>
        </p:nvSpPr>
        <p:spPr bwMode="auto">
          <a:xfrm>
            <a:off x="5043413" y="237979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3" name="TextBox 84">
            <a:extLst>
              <a:ext uri="{FF2B5EF4-FFF2-40B4-BE49-F238E27FC236}">
                <a16:creationId xmlns:a16="http://schemas.microsoft.com/office/drawing/2014/main" xmlns="" id="{CE0950E1-18B8-4FC8-B404-314FCDD775AD}"/>
              </a:ext>
            </a:extLst>
          </p:cNvPr>
          <p:cNvSpPr txBox="1"/>
          <p:nvPr/>
        </p:nvSpPr>
        <p:spPr>
          <a:xfrm>
            <a:off x="5162223" y="2389952"/>
            <a:ext cx="891205" cy="584775"/>
          </a:xfrm>
          <a:prstGeom prst="rect">
            <a:avLst/>
          </a:prstGeom>
          <a:noFill/>
        </p:spPr>
        <p:txBody>
          <a:bodyPr wrap="none" lIns="91440" tIns="45720" rIns="91440" bIns="45720" rtlCol="0" anchor="t">
            <a:spAutoFit/>
          </a:bodyPr>
          <a:lstStyle/>
          <a:p>
            <a:pPr algn="ctr"/>
            <a:r>
              <a:rPr lang="en-GB" sz="1600" b="1" dirty="0" err="1">
                <a:solidFill>
                  <a:schemeClr val="bg1"/>
                </a:solidFill>
                <a:latin typeface="+mj-lt"/>
              </a:rPr>
              <a:t>Anfängliche</a:t>
            </a:r>
            <a:r>
              <a:rPr lang="en-GB" sz="1600" b="1" dirty="0">
                <a:solidFill>
                  <a:schemeClr val="bg1"/>
                </a:solidFill>
                <a:latin typeface="+mj-lt"/>
              </a:rPr>
              <a:t> </a:t>
            </a:r>
            <a:r>
              <a:rPr lang="en-GB" sz="1600" b="1" dirty="0">
                <a:latin typeface="+mj-lt"/>
              </a:rPr>
              <a:t/>
            </a:r>
            <a:br>
              <a:rPr lang="en-GB" sz="1600" b="1" dirty="0">
                <a:latin typeface="+mj-lt"/>
              </a:rPr>
            </a:br>
            <a:r>
              <a:rPr lang="en-GB" sz="1600" b="1" dirty="0">
                <a:solidFill>
                  <a:schemeClr val="bg1"/>
                </a:solidFill>
                <a:latin typeface="+mj-lt"/>
              </a:rPr>
              <a:t>Situation</a:t>
            </a:r>
            <a:endParaRPr lang="en-GB" sz="1600" b="1" dirty="0">
              <a:solidFill>
                <a:schemeClr val="bg1"/>
              </a:solidFill>
              <a:latin typeface="Calibri Light"/>
            </a:endParaRPr>
          </a:p>
        </p:txBody>
      </p:sp>
      <p:sp>
        <p:nvSpPr>
          <p:cNvPr id="24" name="Rectangle 85">
            <a:extLst>
              <a:ext uri="{FF2B5EF4-FFF2-40B4-BE49-F238E27FC236}">
                <a16:creationId xmlns:a16="http://schemas.microsoft.com/office/drawing/2014/main" xmlns="" id="{5469B736-DF39-4D11-A744-23E93CB730DF}"/>
              </a:ext>
            </a:extLst>
          </p:cNvPr>
          <p:cNvSpPr>
            <a:spLocks/>
          </p:cNvSpPr>
          <p:nvPr/>
        </p:nvSpPr>
        <p:spPr bwMode="auto">
          <a:xfrm>
            <a:off x="5392235" y="2794789"/>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1</a:t>
            </a:r>
            <a:endParaRPr lang="en-GB" sz="3601" b="1" spc="113" dirty="0">
              <a:solidFill>
                <a:schemeClr val="bg1"/>
              </a:solidFill>
              <a:latin typeface="+mj-lt"/>
              <a:ea typeface="Roboto" charset="0"/>
              <a:cs typeface="Roboto" charset="0"/>
              <a:sym typeface="Bebas Neue" charset="0"/>
            </a:endParaRPr>
          </a:p>
        </p:txBody>
      </p:sp>
      <p:sp>
        <p:nvSpPr>
          <p:cNvPr id="25" name="TextBox 86">
            <a:extLst>
              <a:ext uri="{FF2B5EF4-FFF2-40B4-BE49-F238E27FC236}">
                <a16:creationId xmlns:a16="http://schemas.microsoft.com/office/drawing/2014/main" xmlns="" id="{3EC296D2-01F5-4282-8CB3-C8A4BD9A3A17}"/>
              </a:ext>
            </a:extLst>
          </p:cNvPr>
          <p:cNvSpPr txBox="1"/>
          <p:nvPr/>
        </p:nvSpPr>
        <p:spPr>
          <a:xfrm>
            <a:off x="6492597" y="2495785"/>
            <a:ext cx="5153023" cy="752770"/>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Aussagen über wesentliche Unternehmensdaten, wirtschaftliche und rechtliche Einflussfaktoren und die (zentralen) Ursachen der Krise</a:t>
            </a:r>
          </a:p>
        </p:txBody>
      </p:sp>
    </p:spTree>
    <p:extLst>
      <p:ext uri="{BB962C8B-B14F-4D97-AF65-F5344CB8AC3E}">
        <p14:creationId xmlns:p14="http://schemas.microsoft.com/office/powerpoint/2010/main" val="2254485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qwWSiFbkEGfDzOMCLGX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64</Words>
  <Application>Microsoft Office PowerPoint</Application>
  <PresentationFormat>Custom</PresentationFormat>
  <Paragraphs>443</Paragraphs>
  <Slides>38</Slides>
  <Notes>3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0" baseType="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Grey</dc:creator>
  <cp:lastModifiedBy>Carol Daniels</cp:lastModifiedBy>
  <cp:revision>122</cp:revision>
  <dcterms:created xsi:type="dcterms:W3CDTF">2021-03-17T09:15:18Z</dcterms:created>
  <dcterms:modified xsi:type="dcterms:W3CDTF">2022-04-21T14:44:58Z</dcterms:modified>
</cp:coreProperties>
</file>